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tiff" ContentType="image/tiff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Default Extension="svg" ContentType="image/sv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8" r:id="rId1"/>
    <p:sldMasterId id="2147483793" r:id="rId2"/>
  </p:sldMasterIdLst>
  <p:notesMasterIdLst>
    <p:notesMasterId r:id="rId25"/>
  </p:notesMasterIdLst>
  <p:handoutMasterIdLst>
    <p:handoutMasterId r:id="rId26"/>
  </p:handoutMasterIdLst>
  <p:sldIdLst>
    <p:sldId id="404" r:id="rId3"/>
    <p:sldId id="426" r:id="rId4"/>
    <p:sldId id="446" r:id="rId5"/>
    <p:sldId id="447" r:id="rId6"/>
    <p:sldId id="411" r:id="rId7"/>
    <p:sldId id="435" r:id="rId8"/>
    <p:sldId id="437" r:id="rId9"/>
    <p:sldId id="436" r:id="rId10"/>
    <p:sldId id="429" r:id="rId11"/>
    <p:sldId id="433" r:id="rId12"/>
    <p:sldId id="443" r:id="rId13"/>
    <p:sldId id="439" r:id="rId14"/>
    <p:sldId id="440" r:id="rId15"/>
    <p:sldId id="438" r:id="rId16"/>
    <p:sldId id="328" r:id="rId17"/>
    <p:sldId id="419" r:id="rId18"/>
    <p:sldId id="425" r:id="rId19"/>
    <p:sldId id="415" r:id="rId20"/>
    <p:sldId id="444" r:id="rId21"/>
    <p:sldId id="421" r:id="rId22"/>
    <p:sldId id="422" r:id="rId23"/>
    <p:sldId id="445" r:id="rId24"/>
  </p:sldIdLst>
  <p:sldSz cx="12192000" cy="6858000"/>
  <p:notesSz cx="6797675" cy="9856788"/>
  <p:custDataLst>
    <p:tags r:id="rId2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Standardabschnitt" id="{237A5BF9-52C2-0148-B6EF-EE00CA36B8DD}">
          <p14:sldIdLst>
            <p14:sldId id="404"/>
            <p14:sldId id="413"/>
            <p14:sldId id="414"/>
            <p14:sldId id="411"/>
            <p14:sldId id="410"/>
            <p14:sldId id="417"/>
            <p14:sldId id="421"/>
            <p14:sldId id="415"/>
            <p14:sldId id="423"/>
            <p14:sldId id="416"/>
            <p14:sldId id="419"/>
            <p14:sldId id="328"/>
            <p14:sldId id="418"/>
            <p14:sldId id="422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26" userDrawn="1">
          <p15:clr>
            <a:srgbClr val="A4A3A4"/>
          </p15:clr>
        </p15:guide>
        <p15:guide id="4" orient="horz" pos="4194" userDrawn="1">
          <p15:clr>
            <a:srgbClr val="A4A3A4"/>
          </p15:clr>
        </p15:guide>
        <p15:guide id="5" orient="horz" pos="3317" userDrawn="1">
          <p15:clr>
            <a:srgbClr val="A4A3A4"/>
          </p15:clr>
        </p15:guide>
        <p15:guide id="6" pos="7440" userDrawn="1">
          <p15:clr>
            <a:srgbClr val="A4A3A4"/>
          </p15:clr>
        </p15:guide>
        <p15:guide id="7" pos="24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  <p15:guide id="3" orient="horz" pos="3104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er, Laura" initials="ML" lastIdx="69" clrIdx="0">
    <p:extLst>
      <p:ext uri="{19B8F6BF-5375-455C-9EA6-DF929625EA0E}">
        <p15:presenceInfo xmlns="" xmlns:p15="http://schemas.microsoft.com/office/powerpoint/2012/main" userId="Maier, Laura" providerId="None"/>
      </p:ext>
    </p:extLst>
  </p:cmAuthor>
  <p:cmAuthor id="2" name="Gonca Gürses" initials="GG" lastIdx="16" clrIdx="1">
    <p:extLst>
      <p:ext uri="{19B8F6BF-5375-455C-9EA6-DF929625EA0E}">
        <p15:presenceInfo xmlns="" xmlns:p15="http://schemas.microsoft.com/office/powerpoint/2012/main" userId="99b298e49a0a6530" providerId="Windows Live"/>
      </p:ext>
    </p:extLst>
  </p:cmAuthor>
  <p:cmAuthor id="3" name="pm" initials="p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7A603"/>
    <a:srgbClr val="3FAF62"/>
    <a:srgbClr val="DD402D"/>
    <a:srgbClr val="0033CC"/>
    <a:srgbClr val="E9766D"/>
    <a:srgbClr val="E4594E"/>
    <a:srgbClr val="297228"/>
    <a:srgbClr val="9D9EA0"/>
    <a:srgbClr val="21592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3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90" autoAdjust="0"/>
    <p:restoredTop sz="77640" autoAdjust="0"/>
  </p:normalViewPr>
  <p:slideViewPr>
    <p:cSldViewPr snapToGrid="0" showGuides="1">
      <p:cViewPr varScale="1">
        <p:scale>
          <a:sx n="87" d="100"/>
          <a:sy n="87" d="100"/>
        </p:scale>
        <p:origin x="-1548" y="-84"/>
      </p:cViewPr>
      <p:guideLst>
        <p:guide orient="horz" pos="2160"/>
        <p:guide orient="horz" pos="726"/>
        <p:guide orient="horz" pos="4194"/>
        <p:guide orient="horz" pos="3317"/>
        <p:guide pos="3840"/>
        <p:guide pos="7440"/>
        <p:guide pos="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3996" y="114"/>
      </p:cViewPr>
      <p:guideLst>
        <p:guide orient="horz" pos="3223"/>
        <p:guide orient="horz" pos="3104"/>
        <p:guide pos="2235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.14438327822560795"/>
          <c:y val="0.31871349534903742"/>
          <c:w val="0.81801807749294209"/>
          <c:h val="0.48128611466267074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0.64286600000000005</c:v>
                </c:pt>
                <c:pt idx="1">
                  <c:v>0.37242200000000036</c:v>
                </c:pt>
                <c:pt idx="2">
                  <c:v>0.52461500000000005</c:v>
                </c:pt>
                <c:pt idx="3">
                  <c:v>0.29272500000000001</c:v>
                </c:pt>
                <c:pt idx="4">
                  <c:v>0.18204400000000018</c:v>
                </c:pt>
                <c:pt idx="5">
                  <c:v>0.68545500000000004</c:v>
                </c:pt>
                <c:pt idx="6">
                  <c:v>0.2736240000000002</c:v>
                </c:pt>
                <c:pt idx="7">
                  <c:v>0.65650500000000045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96805900000000045</c:v>
                </c:pt>
                <c:pt idx="1">
                  <c:v>2.8540000000000002E-3</c:v>
                </c:pt>
                <c:pt idx="2">
                  <c:v>0.49845600000000023</c:v>
                </c:pt>
                <c:pt idx="3">
                  <c:v>0.31766300000000008</c:v>
                </c:pt>
                <c:pt idx="4">
                  <c:v>0.92521299999999929</c:v>
                </c:pt>
                <c:pt idx="5">
                  <c:v>0.91909300000000005</c:v>
                </c:pt>
                <c:pt idx="6">
                  <c:v>0.92826699999999929</c:v>
                </c:pt>
                <c:pt idx="7">
                  <c:v>0.97770699999999999</c:v>
                </c:pt>
              </c:numCache>
            </c:numRef>
          </c:val>
        </c:ser>
        <c:axId val="327911680"/>
        <c:axId val="327929856"/>
      </c:barChart>
      <c:lineChart>
        <c:grouping val="standard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44450" cap="rnd">
              <a:solidFill>
                <a:schemeClr val="tx2">
                  <a:lumMod val="60000"/>
                  <a:lumOff val="40000"/>
                </a:schemeClr>
              </a:solidFill>
              <a:prstDash val="dash"/>
              <a:headEnd type="none" w="sm" len="sm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0.45</c:v>
                </c:pt>
                <c:pt idx="1">
                  <c:v>0.45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45</c:v>
                </c:pt>
                <c:pt idx="6">
                  <c:v>0.45</c:v>
                </c:pt>
                <c:pt idx="7">
                  <c:v>0.45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69000000000000039</c:v>
                </c:pt>
                <c:pt idx="1">
                  <c:v>0.69000000000000039</c:v>
                </c:pt>
                <c:pt idx="2">
                  <c:v>0.69000000000000039</c:v>
                </c:pt>
                <c:pt idx="3">
                  <c:v>0.69000000000000039</c:v>
                </c:pt>
                <c:pt idx="4">
                  <c:v>0.69000000000000039</c:v>
                </c:pt>
                <c:pt idx="5">
                  <c:v>0.69000000000000039</c:v>
                </c:pt>
                <c:pt idx="6">
                  <c:v>0.69000000000000039</c:v>
                </c:pt>
                <c:pt idx="7">
                  <c:v>0.69000000000000039</c:v>
                </c:pt>
              </c:numCache>
            </c:numRef>
          </c:val>
        </c:ser>
        <c:marker val="1"/>
        <c:axId val="327911680"/>
        <c:axId val="327929856"/>
      </c:lineChart>
      <c:catAx>
        <c:axId val="327911680"/>
        <c:scaling>
          <c:orientation val="minMax"/>
        </c:scaling>
        <c:axPos val="b"/>
        <c:numFmt formatCode="General" sourceLinked="1"/>
        <c:tickLblPos val="nextTo"/>
        <c:crossAx val="327929856"/>
        <c:crosses val="autoZero"/>
        <c:auto val="1"/>
        <c:lblAlgn val="ctr"/>
        <c:lblOffset val="100"/>
      </c:catAx>
      <c:valAx>
        <c:axId val="327929856"/>
        <c:scaling>
          <c:orientation val="minMax"/>
          <c:max val="1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layout>
            <c:manualLayout>
              <c:xMode val="edge"/>
              <c:yMode val="edge"/>
              <c:x val="3.9548019080206534E-3"/>
              <c:y val="0.45455170526276267"/>
            </c:manualLayout>
          </c:layout>
        </c:title>
        <c:numFmt formatCode="General" sourceLinked="1"/>
        <c:tickLblPos val="nextTo"/>
        <c:crossAx val="327911680"/>
        <c:crosses val="autoZero"/>
        <c:crossBetween val="between"/>
        <c:majorUnit val="0.5"/>
      </c:valAx>
    </c:plotArea>
    <c:legend>
      <c:legendPos val="r"/>
      <c:layout>
        <c:manualLayout>
          <c:xMode val="edge"/>
          <c:yMode val="edge"/>
          <c:x val="0.17261838403680044"/>
          <c:y val="2.1786479462568582E-3"/>
          <c:w val="0.42476363052060762"/>
          <c:h val="0.29584608428845355"/>
        </c:manualLayout>
      </c:layout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plotArea>
      <c:layout>
        <c:manualLayout>
          <c:layoutTarget val="inner"/>
          <c:xMode val="edge"/>
          <c:yMode val="edge"/>
          <c:x val="0.14636067917961837"/>
          <c:y val="0.2961327942831698"/>
          <c:w val="0.81801807749294209"/>
          <c:h val="0.48128611466267091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4.6095000000000004E-2</c:v>
                </c:pt>
                <c:pt idx="1">
                  <c:v>5.3291999999999999E-2</c:v>
                </c:pt>
                <c:pt idx="2">
                  <c:v>5.5620999999999997E-2</c:v>
                </c:pt>
                <c:pt idx="3">
                  <c:v>8.6798000000000028E-2</c:v>
                </c:pt>
                <c:pt idx="4">
                  <c:v>0.12256900000000005</c:v>
                </c:pt>
                <c:pt idx="5">
                  <c:v>0.14026600000000011</c:v>
                </c:pt>
                <c:pt idx="6">
                  <c:v>4.8341000000000002E-2</c:v>
                </c:pt>
                <c:pt idx="7">
                  <c:v>8.5413000000000031E-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17627599999999999</c:v>
                </c:pt>
                <c:pt idx="1">
                  <c:v>4.7381000000000013E-2</c:v>
                </c:pt>
                <c:pt idx="2">
                  <c:v>5.6961000000000012E-2</c:v>
                </c:pt>
                <c:pt idx="3">
                  <c:v>0.27607700000000002</c:v>
                </c:pt>
                <c:pt idx="4">
                  <c:v>0.25104700000000002</c:v>
                </c:pt>
                <c:pt idx="5">
                  <c:v>0.3564980000000002</c:v>
                </c:pt>
                <c:pt idx="6">
                  <c:v>0.15202700000000011</c:v>
                </c:pt>
                <c:pt idx="7">
                  <c:v>0.17088300000000001</c:v>
                </c:pt>
              </c:numCache>
            </c:numRef>
          </c:val>
        </c:ser>
        <c:axId val="328235264"/>
        <c:axId val="328237440"/>
      </c:barChart>
      <c:lineChart>
        <c:grouping val="standard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381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3.8300000000000001E-2</c:v>
                </c:pt>
                <c:pt idx="1">
                  <c:v>3.8300000000000001E-2</c:v>
                </c:pt>
                <c:pt idx="2">
                  <c:v>3.8300000000000001E-2</c:v>
                </c:pt>
                <c:pt idx="3">
                  <c:v>3.8300000000000001E-2</c:v>
                </c:pt>
                <c:pt idx="4">
                  <c:v>3.8300000000000001E-2</c:v>
                </c:pt>
                <c:pt idx="5">
                  <c:v>3.8300000000000001E-2</c:v>
                </c:pt>
                <c:pt idx="6">
                  <c:v>3.8300000000000001E-2</c:v>
                </c:pt>
                <c:pt idx="7">
                  <c:v>3.8300000000000001E-2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18600000000000011</c:v>
                </c:pt>
                <c:pt idx="1">
                  <c:v>0.18600000000000011</c:v>
                </c:pt>
                <c:pt idx="2">
                  <c:v>0.18600000000000011</c:v>
                </c:pt>
                <c:pt idx="3">
                  <c:v>0.18600000000000011</c:v>
                </c:pt>
                <c:pt idx="4">
                  <c:v>0.18600000000000011</c:v>
                </c:pt>
                <c:pt idx="5">
                  <c:v>0.18600000000000011</c:v>
                </c:pt>
                <c:pt idx="6">
                  <c:v>0.18600000000000011</c:v>
                </c:pt>
                <c:pt idx="7">
                  <c:v>0.18600000000000011</c:v>
                </c:pt>
              </c:numCache>
            </c:numRef>
          </c:val>
        </c:ser>
        <c:marker val="1"/>
        <c:axId val="328235264"/>
        <c:axId val="328237440"/>
      </c:lineChart>
      <c:catAx>
        <c:axId val="328235264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8237440"/>
        <c:crosses val="autoZero"/>
        <c:auto val="1"/>
        <c:lblAlgn val="ctr"/>
        <c:lblOffset val="100"/>
      </c:catAx>
      <c:valAx>
        <c:axId val="328237440"/>
        <c:scaling>
          <c:orientation val="minMax"/>
          <c:max val="0.4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layout>
            <c:manualLayout>
              <c:xMode val="edge"/>
              <c:yMode val="edge"/>
              <c:x val="1.6432201927825799E-2"/>
              <c:y val="0.24927686823573286"/>
            </c:manualLayout>
          </c:layout>
        </c:title>
        <c:numFmt formatCode="General" sourceLinked="1"/>
        <c:tickLblPos val="nextTo"/>
        <c:crossAx val="328235264"/>
        <c:crosses val="autoZero"/>
        <c:crossBetween val="between"/>
        <c:majorUnit val="0.2"/>
      </c:valAx>
    </c:plotArea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.1851828994348679"/>
          <c:y val="2.4257811007762611E-2"/>
          <c:w val="0.68042491310207864"/>
          <c:h val="0.92804687942625008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AIC</c:v>
                </c:pt>
              </c:strCache>
            </c:strRef>
          </c:tx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-3392</c:v>
                </c:pt>
                <c:pt idx="1">
                  <c:v>-3802</c:v>
                </c:pt>
                <c:pt idx="2">
                  <c:v>-908</c:v>
                </c:pt>
                <c:pt idx="3">
                  <c:v>-1319</c:v>
                </c:pt>
                <c:pt idx="4">
                  <c:v>-2523</c:v>
                </c:pt>
                <c:pt idx="5">
                  <c:v>-3289</c:v>
                </c:pt>
                <c:pt idx="6">
                  <c:v>-3170</c:v>
                </c:pt>
                <c:pt idx="7">
                  <c:v>-2898</c:v>
                </c:pt>
                <c:pt idx="8">
                  <c:v>-4316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IC</c:v>
                </c:pt>
              </c:strCache>
            </c:strRef>
          </c:tx>
          <c:spPr>
            <a:solidFill>
              <a:srgbClr val="0033CC"/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-528</c:v>
                </c:pt>
                <c:pt idx="1">
                  <c:v>-2520</c:v>
                </c:pt>
                <c:pt idx="2">
                  <c:v>-773</c:v>
                </c:pt>
                <c:pt idx="3">
                  <c:v>-1031</c:v>
                </c:pt>
                <c:pt idx="4">
                  <c:v>-1732</c:v>
                </c:pt>
                <c:pt idx="5">
                  <c:v>-1973</c:v>
                </c:pt>
                <c:pt idx="6">
                  <c:v>-2193</c:v>
                </c:pt>
                <c:pt idx="7">
                  <c:v>-1870</c:v>
                </c:pt>
                <c:pt idx="8">
                  <c:v>-3193</c:v>
                </c:pt>
              </c:numCache>
            </c:numRef>
          </c:val>
        </c:ser>
        <c:axId val="328721536"/>
        <c:axId val="328723072"/>
      </c:barChart>
      <c:catAx>
        <c:axId val="328721536"/>
        <c:scaling>
          <c:orientation val="minMax"/>
        </c:scaling>
        <c:axPos val="b"/>
        <c:numFmt formatCode="General" sourceLinked="1"/>
        <c:tickLblPos val="low"/>
        <c:crossAx val="328723072"/>
        <c:crosses val="autoZero"/>
        <c:auto val="1"/>
        <c:lblAlgn val="ctr"/>
        <c:lblOffset val="100"/>
      </c:catAx>
      <c:valAx>
        <c:axId val="328723072"/>
        <c:scaling>
          <c:orientation val="minMax"/>
          <c:min val="-400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Informations-</a:t>
                </a:r>
                <a:r>
                  <a:rPr lang="de-DE" altLang="de-DE" dirty="0" err="1" smtClean="0"/>
                  <a:t>kriterien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8721536"/>
        <c:crosses val="autoZero"/>
        <c:crossBetween val="between"/>
        <c:majorUnit val="2000"/>
      </c:valAx>
    </c:plotArea>
    <c:legend>
      <c:legendPos val="r"/>
      <c:layout>
        <c:manualLayout>
          <c:xMode val="edge"/>
          <c:yMode val="edge"/>
          <c:x val="0.88723108935707351"/>
          <c:y val="0.30946465202489143"/>
          <c:w val="8.1237379111394864E-2"/>
          <c:h val="0.35376250908481044"/>
        </c:manualLayout>
      </c:layout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0.19425934517941126"/>
          <c:y val="0.16648930235118731"/>
          <c:w val="0.71523790860259262"/>
          <c:h val="0.56104069485297769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R2</c:v>
                </c:pt>
              </c:strCache>
            </c:strRef>
          </c:tx>
          <c:spPr>
            <a:solidFill>
              <a:srgbClr val="E7A603"/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97255499999999973</c:v>
                </c:pt>
                <c:pt idx="1">
                  <c:v>0.96805900000000022</c:v>
                </c:pt>
                <c:pt idx="2">
                  <c:v>3.0000000000000002E-2</c:v>
                </c:pt>
                <c:pt idx="3">
                  <c:v>0.49845600000000012</c:v>
                </c:pt>
                <c:pt idx="4">
                  <c:v>0.31766300000000008</c:v>
                </c:pt>
                <c:pt idx="5">
                  <c:v>0.92521299999999951</c:v>
                </c:pt>
                <c:pt idx="6">
                  <c:v>0.91909300000000005</c:v>
                </c:pt>
                <c:pt idx="7">
                  <c:v>0.92826699999999951</c:v>
                </c:pt>
                <c:pt idx="8">
                  <c:v>0.97770699999999999</c:v>
                </c:pt>
              </c:numCache>
            </c:numRef>
          </c:val>
        </c:ser>
        <c:axId val="328816896"/>
        <c:axId val="328818688"/>
      </c:barChart>
      <c:catAx>
        <c:axId val="328816896"/>
        <c:scaling>
          <c:orientation val="minMax"/>
        </c:scaling>
        <c:axPos val="b"/>
        <c:numFmt formatCode="General" sourceLinked="1"/>
        <c:tickLblPos val="nextTo"/>
        <c:crossAx val="328818688"/>
        <c:crosses val="autoZero"/>
        <c:auto val="1"/>
        <c:lblAlgn val="ctr"/>
        <c:lblOffset val="100"/>
      </c:catAx>
      <c:valAx>
        <c:axId val="328818688"/>
        <c:scaling>
          <c:orientation val="minMax"/>
          <c:max val="1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layout/>
        </c:title>
        <c:numFmt formatCode="General" sourceLinked="1"/>
        <c:tickLblPos val="nextTo"/>
        <c:crossAx val="328816896"/>
        <c:crosses val="autoZero"/>
        <c:crossBetween val="between"/>
        <c:majorUnit val="0.5"/>
      </c:valAx>
    </c:plotArea>
    <c:legend>
      <c:legendPos val="r"/>
      <c:layout/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plotArea>
      <c:layout>
        <c:manualLayout>
          <c:layoutTarget val="inner"/>
          <c:xMode val="edge"/>
          <c:yMode val="edge"/>
          <c:x val="0.14875813077713126"/>
          <c:y val="3.4689124662149282E-2"/>
          <c:w val="0.54983101297120474"/>
          <c:h val="0.65618436518488565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Prädiktionsze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36610300000000001</c:v>
                </c:pt>
                <c:pt idx="1">
                  <c:v>0.17627599999999999</c:v>
                </c:pt>
                <c:pt idx="2">
                  <c:v>4.7381000000000013E-2</c:v>
                </c:pt>
                <c:pt idx="3">
                  <c:v>5.6961000000000012E-2</c:v>
                </c:pt>
                <c:pt idx="4">
                  <c:v>0.27607700000000002</c:v>
                </c:pt>
                <c:pt idx="5">
                  <c:v>0.25104700000000002</c:v>
                </c:pt>
                <c:pt idx="6">
                  <c:v>0.3564980000000002</c:v>
                </c:pt>
                <c:pt idx="7">
                  <c:v>0.15202700000000011</c:v>
                </c:pt>
                <c:pt idx="8">
                  <c:v>0.17088300000000001</c:v>
                </c:pt>
              </c:numCache>
            </c:numRef>
          </c:val>
        </c:ser>
        <c:axId val="328856704"/>
        <c:axId val="328859008"/>
      </c:barChart>
      <c:scatterChart>
        <c:scatterStyle val="smoothMarker"/>
        <c:ser>
          <c:idx val="1"/>
          <c:order val="1"/>
          <c:tx>
            <c:strRef>
              <c:f>Tabelle1!$C$1</c:f>
              <c:strCache>
                <c:ptCount val="1"/>
                <c:pt idx="0">
                  <c:v>Summe der Gewichte</c:v>
                </c:pt>
              </c:strCache>
            </c:strRef>
          </c:tx>
          <c:spPr>
            <a:ln w="31750">
              <a:solidFill>
                <a:schemeClr val="tx2"/>
              </a:solidFill>
            </a:ln>
          </c:spPr>
          <c:marker>
            <c:symbol val="square"/>
            <c:size val="7"/>
            <c:spPr>
              <a:solidFill>
                <a:schemeClr val="tx2"/>
              </a:solidFill>
              <a:ln>
                <a:solidFill>
                  <a:srgbClr val="DD402D"/>
                </a:solidFill>
              </a:ln>
            </c:spPr>
          </c:marker>
          <c:xVal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xVal>
          <c:yVal>
            <c:numRef>
              <c:f>Tabelle1!$C$2:$C$10</c:f>
              <c:numCache>
                <c:formatCode>General</c:formatCode>
                <c:ptCount val="9"/>
                <c:pt idx="0">
                  <c:v>558</c:v>
                </c:pt>
                <c:pt idx="1">
                  <c:v>250</c:v>
                </c:pt>
                <c:pt idx="2">
                  <c:v>26</c:v>
                </c:pt>
                <c:pt idx="3">
                  <c:v>56</c:v>
                </c:pt>
                <c:pt idx="4">
                  <c:v>154</c:v>
                </c:pt>
                <c:pt idx="5">
                  <c:v>256</c:v>
                </c:pt>
                <c:pt idx="6">
                  <c:v>191</c:v>
                </c:pt>
                <c:pt idx="7">
                  <c:v>200</c:v>
                </c:pt>
                <c:pt idx="8">
                  <c:v>219</c:v>
                </c:pt>
              </c:numCache>
            </c:numRef>
          </c:yVal>
          <c:smooth val="1"/>
        </c:ser>
        <c:axId val="328863104"/>
        <c:axId val="328861184"/>
      </c:scatterChart>
      <c:catAx>
        <c:axId val="328856704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8859008"/>
        <c:crosses val="autoZero"/>
        <c:auto val="1"/>
        <c:lblAlgn val="ctr"/>
        <c:lblOffset val="100"/>
      </c:catAx>
      <c:valAx>
        <c:axId val="328859008"/>
        <c:scaling>
          <c:orientation val="minMax"/>
          <c:max val="0.4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8856704"/>
        <c:crosses val="autoZero"/>
        <c:crossBetween val="between"/>
        <c:majorUnit val="0.1"/>
      </c:valAx>
      <c:valAx>
        <c:axId val="328861184"/>
        <c:scaling>
          <c:orientation val="minMax"/>
        </c:scaling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Summe der Gewichte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8863104"/>
        <c:crosses val="max"/>
        <c:crossBetween val="midCat"/>
        <c:majorUnit val="200"/>
      </c:valAx>
      <c:valAx>
        <c:axId val="328863104"/>
        <c:scaling>
          <c:orientation val="minMax"/>
        </c:scaling>
        <c:delete val="1"/>
        <c:axPos val="b"/>
        <c:numFmt formatCode="General" sourceLinked="1"/>
        <c:tickLblPos val="none"/>
        <c:crossAx val="32886118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8177523869298946"/>
          <c:y val="0.45308574094214354"/>
          <c:w val="0.17311508615770863"/>
          <c:h val="0.48254536140397275"/>
        </c:manualLayout>
      </c:layout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style val="27"/>
  <c:chart>
    <c:plotArea>
      <c:layout>
        <c:manualLayout>
          <c:layoutTarget val="inner"/>
          <c:xMode val="edge"/>
          <c:yMode val="edge"/>
          <c:x val="8.0323850434754832E-2"/>
          <c:y val="2.6214934410990754E-2"/>
          <c:w val="0.68948406403215301"/>
          <c:h val="0.93312100559049005"/>
        </c:manualLayout>
      </c:layout>
      <c:scatterChart>
        <c:scatterStyle val="smoothMarker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B$2:$B$385</c:f>
              <c:numCache>
                <c:formatCode>General</c:formatCode>
                <c:ptCount val="384"/>
                <c:pt idx="0">
                  <c:v>0</c:v>
                </c:pt>
                <c:pt idx="1">
                  <c:v>4746.093093663671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746.093093663671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4746.093093663671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4746.093093663671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746.0930936636714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4746.0930936636714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4746.0930936636814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4746.0930936636714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746.0930936636714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4746.0930936636714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4746.0930936636714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4746.0930936636714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4746.0930936636714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711615.17225231498</c:v>
                </c:pt>
                <c:pt idx="54">
                  <c:v>683754.80307883117</c:v>
                </c:pt>
                <c:pt idx="55">
                  <c:v>704392.44015069003</c:v>
                </c:pt>
                <c:pt idx="56">
                  <c:v>145966.872281449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60606.67993543702</c:v>
                </c:pt>
                <c:pt idx="61">
                  <c:v>0</c:v>
                </c:pt>
                <c:pt idx="62">
                  <c:v>0</c:v>
                </c:pt>
                <c:pt idx="63">
                  <c:v>16620.237770963398</c:v>
                </c:pt>
                <c:pt idx="64">
                  <c:v>0</c:v>
                </c:pt>
                <c:pt idx="65">
                  <c:v>9545.9967196277757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-80329.354162896023</c:v>
                </c:pt>
                <c:pt idx="74">
                  <c:v>-218539.78848107398</c:v>
                </c:pt>
                <c:pt idx="75">
                  <c:v>-218865.04103509799</c:v>
                </c:pt>
                <c:pt idx="76">
                  <c:v>0</c:v>
                </c:pt>
                <c:pt idx="77">
                  <c:v>-156345.49575405399</c:v>
                </c:pt>
                <c:pt idx="78">
                  <c:v>-155415.659043366</c:v>
                </c:pt>
                <c:pt idx="79">
                  <c:v>-155192.37381092398</c:v>
                </c:pt>
                <c:pt idx="80">
                  <c:v>-155314.965735573</c:v>
                </c:pt>
                <c:pt idx="81">
                  <c:v>-154262.31459999998</c:v>
                </c:pt>
                <c:pt idx="82">
                  <c:v>-82579.409960000005</c:v>
                </c:pt>
                <c:pt idx="83">
                  <c:v>-82579.409960000005</c:v>
                </c:pt>
                <c:pt idx="84">
                  <c:v>-82579.409960000005</c:v>
                </c:pt>
                <c:pt idx="85">
                  <c:v>-82338.300579999981</c:v>
                </c:pt>
                <c:pt idx="86">
                  <c:v>-148353.40449999998</c:v>
                </c:pt>
                <c:pt idx="87">
                  <c:v>-82338.300579999981</c:v>
                </c:pt>
                <c:pt idx="88">
                  <c:v>-80456.321041770003</c:v>
                </c:pt>
                <c:pt idx="89">
                  <c:v>41193.122150979594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5019.3516689264306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5019.3516689264807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5019.3516689264807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746230.71379619499</c:v>
                </c:pt>
                <c:pt idx="106">
                  <c:v>683750.23228121095</c:v>
                </c:pt>
                <c:pt idx="107">
                  <c:v>30067.1931879</c:v>
                </c:pt>
                <c:pt idx="108">
                  <c:v>681914.44301698008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262103.3025579589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-63334.218809376609</c:v>
                </c:pt>
                <c:pt idx="122">
                  <c:v>-62026.195300052794</c:v>
                </c:pt>
                <c:pt idx="123">
                  <c:v>-60203.657042988001</c:v>
                </c:pt>
                <c:pt idx="124">
                  <c:v>-58538.243397938902</c:v>
                </c:pt>
                <c:pt idx="125">
                  <c:v>-46924.037634173001</c:v>
                </c:pt>
                <c:pt idx="126">
                  <c:v>-45349.282464283191</c:v>
                </c:pt>
                <c:pt idx="127">
                  <c:v>-44012.204378034097</c:v>
                </c:pt>
                <c:pt idx="128">
                  <c:v>-42890.797506276598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533663.94229362207</c:v>
                </c:pt>
                <c:pt idx="140">
                  <c:v>0</c:v>
                </c:pt>
                <c:pt idx="141">
                  <c:v>0</c:v>
                </c:pt>
                <c:pt idx="142">
                  <c:v>76079.72111479583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12264.457611022501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9358.395005275248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8880.4998065649488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-186433.07352725201</c:v>
                </c:pt>
                <c:pt idx="166">
                  <c:v>-187455.81161230296</c:v>
                </c:pt>
                <c:pt idx="167">
                  <c:v>-107443.815015606</c:v>
                </c:pt>
                <c:pt idx="168">
                  <c:v>0</c:v>
                </c:pt>
                <c:pt idx="169">
                  <c:v>-218874.49851807597</c:v>
                </c:pt>
                <c:pt idx="170">
                  <c:v>-146207.62628658701</c:v>
                </c:pt>
                <c:pt idx="171">
                  <c:v>-146142.35784742699</c:v>
                </c:pt>
                <c:pt idx="172">
                  <c:v>-211253.86446263894</c:v>
                </c:pt>
                <c:pt idx="173">
                  <c:v>-148425.10463022298</c:v>
                </c:pt>
                <c:pt idx="174">
                  <c:v>-83912.862349500298</c:v>
                </c:pt>
                <c:pt idx="175">
                  <c:v>-83926.033829537293</c:v>
                </c:pt>
                <c:pt idx="176">
                  <c:v>-83948.729953352798</c:v>
                </c:pt>
                <c:pt idx="177">
                  <c:v>-83168.183399999994</c:v>
                </c:pt>
                <c:pt idx="178">
                  <c:v>-83168.183399999994</c:v>
                </c:pt>
                <c:pt idx="179">
                  <c:v>-81473.68047838741</c:v>
                </c:pt>
                <c:pt idx="180">
                  <c:v>-83168.183399999994</c:v>
                </c:pt>
                <c:pt idx="181">
                  <c:v>40144.286281661494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5122.2696870881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5122.26968708818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5122.26968708819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5122.26968708819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31442.427616061799</c:v>
                </c:pt>
                <c:pt idx="202">
                  <c:v>625314.65860085795</c:v>
                </c:pt>
                <c:pt idx="203">
                  <c:v>684331.01774146897</c:v>
                </c:pt>
                <c:pt idx="204">
                  <c:v>716538.68029488891</c:v>
                </c:pt>
                <c:pt idx="205">
                  <c:v>0</c:v>
                </c:pt>
                <c:pt idx="206">
                  <c:v>259172.54792120805</c:v>
                </c:pt>
                <c:pt idx="207">
                  <c:v>0</c:v>
                </c:pt>
                <c:pt idx="208">
                  <c:v>0</c:v>
                </c:pt>
                <c:pt idx="209">
                  <c:v>22344.859382874096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-71333.754936306883</c:v>
                </c:pt>
                <c:pt idx="218">
                  <c:v>-69955.812109131293</c:v>
                </c:pt>
                <c:pt idx="219">
                  <c:v>-68156.132409053302</c:v>
                </c:pt>
                <c:pt idx="220">
                  <c:v>-66536.7577892431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30034.89839677193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-259578.27398510103</c:v>
                </c:pt>
                <c:pt idx="266">
                  <c:v>-257990.800820295</c:v>
                </c:pt>
                <c:pt idx="267">
                  <c:v>-257920.75220279201</c:v>
                </c:pt>
                <c:pt idx="268">
                  <c:v>-257895.50505011703</c:v>
                </c:pt>
                <c:pt idx="269">
                  <c:v>-210524.21495311602</c:v>
                </c:pt>
                <c:pt idx="270">
                  <c:v>-210882.80605475398</c:v>
                </c:pt>
                <c:pt idx="271">
                  <c:v>-210895.55051396997</c:v>
                </c:pt>
                <c:pt idx="272">
                  <c:v>-210918.059621714</c:v>
                </c:pt>
                <c:pt idx="273">
                  <c:v>0</c:v>
                </c:pt>
                <c:pt idx="274">
                  <c:v>0</c:v>
                </c:pt>
                <c:pt idx="275">
                  <c:v>-42674.889594339606</c:v>
                </c:pt>
                <c:pt idx="276">
                  <c:v>0</c:v>
                </c:pt>
                <c:pt idx="277">
                  <c:v>10018.528965264199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8173.6505378763504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7713.6488382450098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7584.515787087730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563124.53285408206</c:v>
                </c:pt>
                <c:pt idx="294">
                  <c:v>675685.21730044298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65395.75737737899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363797.57332797005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-76571.358182095108</c:v>
                </c:pt>
                <c:pt idx="314">
                  <c:v>-74707.780054328701</c:v>
                </c:pt>
                <c:pt idx="315">
                  <c:v>-72917.980566529979</c:v>
                </c:pt>
                <c:pt idx="316">
                  <c:v>-71295.312413066378</c:v>
                </c:pt>
                <c:pt idx="317">
                  <c:v>-66442.003849590881</c:v>
                </c:pt>
                <c:pt idx="318">
                  <c:v>-64880.391674947903</c:v>
                </c:pt>
                <c:pt idx="319">
                  <c:v>-124051.27662611799</c:v>
                </c:pt>
                <c:pt idx="320">
                  <c:v>-124353.69323410001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585103.51115117304</c:v>
                </c:pt>
                <c:pt idx="350">
                  <c:v>0</c:v>
                </c:pt>
                <c:pt idx="351">
                  <c:v>0</c:v>
                </c:pt>
                <c:pt idx="352">
                  <c:v>228264.25727071706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-265990.65859765193</c:v>
                </c:pt>
                <c:pt idx="362">
                  <c:v>-265003.53731305408</c:v>
                </c:pt>
                <c:pt idx="363">
                  <c:v>-264950.30314784602</c:v>
                </c:pt>
                <c:pt idx="364">
                  <c:v>-264907.52402020601</c:v>
                </c:pt>
                <c:pt idx="365">
                  <c:v>-277420.579259452</c:v>
                </c:pt>
                <c:pt idx="366">
                  <c:v>-21155.524186922103</c:v>
                </c:pt>
                <c:pt idx="367">
                  <c:v>-282131.43569039606</c:v>
                </c:pt>
                <c:pt idx="368">
                  <c:v>-283940.30823850492</c:v>
                </c:pt>
                <c:pt idx="369">
                  <c:v>56615.631823881282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3526.4107265890307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3526.4107265890907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3526.4107265890907</c:v>
                </c:pt>
                <c:pt idx="382">
                  <c:v>0</c:v>
                </c:pt>
                <c:pt idx="383">
                  <c:v>0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C$2:$C$385</c:f>
              <c:numCache>
                <c:formatCode>General</c:formatCode>
                <c:ptCount val="384"/>
                <c:pt idx="0">
                  <c:v>5182.6467890279982</c:v>
                </c:pt>
                <c:pt idx="1">
                  <c:v>13082.423601409089</c:v>
                </c:pt>
                <c:pt idx="2">
                  <c:v>10939.907098999091</c:v>
                </c:pt>
                <c:pt idx="3">
                  <c:v>17056.062027344866</c:v>
                </c:pt>
                <c:pt idx="4">
                  <c:v>3958.2916921070878</c:v>
                </c:pt>
                <c:pt idx="5">
                  <c:v>8297.0528648412837</c:v>
                </c:pt>
                <c:pt idx="6">
                  <c:v>4903.5880383141503</c:v>
                </c:pt>
                <c:pt idx="7">
                  <c:v>6753.8480225638323</c:v>
                </c:pt>
                <c:pt idx="8">
                  <c:v>123.87444937256289</c:v>
                </c:pt>
                <c:pt idx="9">
                  <c:v>965.32485774963152</c:v>
                </c:pt>
                <c:pt idx="10">
                  <c:v>-2051.75029463587</c:v>
                </c:pt>
                <c:pt idx="11">
                  <c:v>-2174.012609996541</c:v>
                </c:pt>
                <c:pt idx="12">
                  <c:v>-843.39845732818503</c:v>
                </c:pt>
                <c:pt idx="13">
                  <c:v>1588.6878136146008</c:v>
                </c:pt>
                <c:pt idx="14">
                  <c:v>-2253.7271879546088</c:v>
                </c:pt>
                <c:pt idx="15">
                  <c:v>2017.8977237903109</c:v>
                </c:pt>
                <c:pt idx="16">
                  <c:v>1257.6102898363338</c:v>
                </c:pt>
                <c:pt idx="17">
                  <c:v>1716.3555693197943</c:v>
                </c:pt>
                <c:pt idx="18">
                  <c:v>-4796.6657084179287</c:v>
                </c:pt>
                <c:pt idx="19">
                  <c:v>-3133.6669557130513</c:v>
                </c:pt>
                <c:pt idx="20">
                  <c:v>7477.8745174908627</c:v>
                </c:pt>
                <c:pt idx="21">
                  <c:v>-2068.9089765483463</c:v>
                </c:pt>
                <c:pt idx="22">
                  <c:v>-7587.8670199255239</c:v>
                </c:pt>
                <c:pt idx="23">
                  <c:v>-7155.5922422915355</c:v>
                </c:pt>
                <c:pt idx="24">
                  <c:v>-5828.7790691092787</c:v>
                </c:pt>
                <c:pt idx="25">
                  <c:v>-9396.2823852978745</c:v>
                </c:pt>
                <c:pt idx="26">
                  <c:v>-10314.273684533289</c:v>
                </c:pt>
                <c:pt idx="27">
                  <c:v>-11396.565545036519</c:v>
                </c:pt>
                <c:pt idx="28">
                  <c:v>-20897.106321438256</c:v>
                </c:pt>
                <c:pt idx="29">
                  <c:v>-17949.1824422725</c:v>
                </c:pt>
                <c:pt idx="30">
                  <c:v>-24862.761682065102</c:v>
                </c:pt>
                <c:pt idx="31">
                  <c:v>-25404.499874655041</c:v>
                </c:pt>
                <c:pt idx="32">
                  <c:v>-32039.23741131659</c:v>
                </c:pt>
                <c:pt idx="33">
                  <c:v>-27928.25241383486</c:v>
                </c:pt>
                <c:pt idx="34">
                  <c:v>-40256.426029725437</c:v>
                </c:pt>
                <c:pt idx="35">
                  <c:v>-36098.364360316998</c:v>
                </c:pt>
                <c:pt idx="36">
                  <c:v>-43631.708286922527</c:v>
                </c:pt>
                <c:pt idx="37">
                  <c:v>-42513.080731645838</c:v>
                </c:pt>
                <c:pt idx="38">
                  <c:v>-49705.987050992728</c:v>
                </c:pt>
                <c:pt idx="39">
                  <c:v>-45879.233666473316</c:v>
                </c:pt>
                <c:pt idx="40">
                  <c:v>-56569.995398872503</c:v>
                </c:pt>
                <c:pt idx="41">
                  <c:v>-45674.565728227775</c:v>
                </c:pt>
                <c:pt idx="42">
                  <c:v>-56496.509494477446</c:v>
                </c:pt>
                <c:pt idx="43">
                  <c:v>-58347.5542161661</c:v>
                </c:pt>
                <c:pt idx="44">
                  <c:v>-54739.011023717074</c:v>
                </c:pt>
                <c:pt idx="45">
                  <c:v>-49961.797827641181</c:v>
                </c:pt>
                <c:pt idx="46">
                  <c:v>-56705.663586944771</c:v>
                </c:pt>
                <c:pt idx="47">
                  <c:v>-60248.502873883728</c:v>
                </c:pt>
                <c:pt idx="48">
                  <c:v>-58540.113603921622</c:v>
                </c:pt>
                <c:pt idx="49">
                  <c:v>-50406.083140447998</c:v>
                </c:pt>
                <c:pt idx="50">
                  <c:v>-58496.663131708192</c:v>
                </c:pt>
                <c:pt idx="51">
                  <c:v>-58254.754052150187</c:v>
                </c:pt>
                <c:pt idx="52">
                  <c:v>-55111.304547362968</c:v>
                </c:pt>
                <c:pt idx="53">
                  <c:v>540980.12497907842</c:v>
                </c:pt>
                <c:pt idx="54">
                  <c:v>548281.1378933111</c:v>
                </c:pt>
                <c:pt idx="55">
                  <c:v>588076.95663414733</c:v>
                </c:pt>
                <c:pt idx="56">
                  <c:v>110518.9163585339</c:v>
                </c:pt>
                <c:pt idx="57">
                  <c:v>-23978.434418864359</c:v>
                </c:pt>
                <c:pt idx="58">
                  <c:v>-26741.163257748482</c:v>
                </c:pt>
                <c:pt idx="59">
                  <c:v>-26743.542992021823</c:v>
                </c:pt>
                <c:pt idx="60">
                  <c:v>80383.977042132014</c:v>
                </c:pt>
                <c:pt idx="61">
                  <c:v>-27618.572596837806</c:v>
                </c:pt>
                <c:pt idx="62">
                  <c:v>-15993.722489512003</c:v>
                </c:pt>
                <c:pt idx="63">
                  <c:v>-2321.3770460815476</c:v>
                </c:pt>
                <c:pt idx="64">
                  <c:v>-12301.5996223783</c:v>
                </c:pt>
                <c:pt idx="65">
                  <c:v>-14814.0857805135</c:v>
                </c:pt>
                <c:pt idx="66">
                  <c:v>-12894.206456769773</c:v>
                </c:pt>
                <c:pt idx="67">
                  <c:v>-14013.334680218502</c:v>
                </c:pt>
                <c:pt idx="68">
                  <c:v>-14581.727623092291</c:v>
                </c:pt>
                <c:pt idx="69">
                  <c:v>-8976.4126994517555</c:v>
                </c:pt>
                <c:pt idx="70">
                  <c:v>-11974.219502024162</c:v>
                </c:pt>
                <c:pt idx="71">
                  <c:v>-10622.41387403887</c:v>
                </c:pt>
                <c:pt idx="72">
                  <c:v>-11752.458672632951</c:v>
                </c:pt>
                <c:pt idx="73">
                  <c:v>-81996.306148281423</c:v>
                </c:pt>
                <c:pt idx="74">
                  <c:v>-223572.57386111023</c:v>
                </c:pt>
                <c:pt idx="75">
                  <c:v>-228238.10752529639</c:v>
                </c:pt>
                <c:pt idx="76">
                  <c:v>7963.5674442093123</c:v>
                </c:pt>
                <c:pt idx="77">
                  <c:v>-163283.17603090539</c:v>
                </c:pt>
                <c:pt idx="78">
                  <c:v>-160348.61569746531</c:v>
                </c:pt>
                <c:pt idx="79">
                  <c:v>-160468.01078720341</c:v>
                </c:pt>
                <c:pt idx="80">
                  <c:v>-160710.56667830361</c:v>
                </c:pt>
                <c:pt idx="81">
                  <c:v>-157893.16690043389</c:v>
                </c:pt>
                <c:pt idx="82">
                  <c:v>-80083.455536220979</c:v>
                </c:pt>
                <c:pt idx="83">
                  <c:v>-81645.824758965959</c:v>
                </c:pt>
                <c:pt idx="84">
                  <c:v>-82889.429415864637</c:v>
                </c:pt>
                <c:pt idx="85">
                  <c:v>-87171.102223087</c:v>
                </c:pt>
                <c:pt idx="86">
                  <c:v>-156033.04637757564</c:v>
                </c:pt>
                <c:pt idx="87">
                  <c:v>-81937.609000734999</c:v>
                </c:pt>
                <c:pt idx="88">
                  <c:v>-85255.162928027567</c:v>
                </c:pt>
                <c:pt idx="89">
                  <c:v>27941.111514765656</c:v>
                </c:pt>
                <c:pt idx="90">
                  <c:v>119.4381610001969</c:v>
                </c:pt>
                <c:pt idx="91">
                  <c:v>655.66621648274463</c:v>
                </c:pt>
                <c:pt idx="92">
                  <c:v>1159.7814568856991</c:v>
                </c:pt>
                <c:pt idx="93">
                  <c:v>1918.9555814938153</c:v>
                </c:pt>
                <c:pt idx="94">
                  <c:v>42.530582325243351</c:v>
                </c:pt>
                <c:pt idx="95">
                  <c:v>1611.4889988363777</c:v>
                </c:pt>
                <c:pt idx="96">
                  <c:v>-865.04386709227742</c:v>
                </c:pt>
                <c:pt idx="97">
                  <c:v>2767.219227366556</c:v>
                </c:pt>
                <c:pt idx="98">
                  <c:v>1160.0858593208472</c:v>
                </c:pt>
                <c:pt idx="99">
                  <c:v>4530.1410861200211</c:v>
                </c:pt>
                <c:pt idx="100">
                  <c:v>-285.69306008216398</c:v>
                </c:pt>
                <c:pt idx="101">
                  <c:v>3873.5279195324197</c:v>
                </c:pt>
                <c:pt idx="102">
                  <c:v>-697.56133538042332</c:v>
                </c:pt>
                <c:pt idx="103">
                  <c:v>13.882998396047391</c:v>
                </c:pt>
                <c:pt idx="104">
                  <c:v>497.41892384113527</c:v>
                </c:pt>
                <c:pt idx="105">
                  <c:v>769815.00619184645</c:v>
                </c:pt>
                <c:pt idx="106">
                  <c:v>689818.11820092273</c:v>
                </c:pt>
                <c:pt idx="107">
                  <c:v>43817.97787529551</c:v>
                </c:pt>
                <c:pt idx="108">
                  <c:v>642274.12905842811</c:v>
                </c:pt>
                <c:pt idx="109">
                  <c:v>-6225.1286636618315</c:v>
                </c:pt>
                <c:pt idx="110">
                  <c:v>9798.9914000676854</c:v>
                </c:pt>
                <c:pt idx="111">
                  <c:v>12957.529402273512</c:v>
                </c:pt>
                <c:pt idx="112">
                  <c:v>10179.52502489285</c:v>
                </c:pt>
                <c:pt idx="113">
                  <c:v>202919.14829976883</c:v>
                </c:pt>
                <c:pt idx="114">
                  <c:v>19132.344093519743</c:v>
                </c:pt>
                <c:pt idx="115">
                  <c:v>15327.344049032201</c:v>
                </c:pt>
                <c:pt idx="116">
                  <c:v>14591.062976684709</c:v>
                </c:pt>
                <c:pt idx="117">
                  <c:v>1478.1687693912472</c:v>
                </c:pt>
                <c:pt idx="118">
                  <c:v>2098.443985940833</c:v>
                </c:pt>
                <c:pt idx="119">
                  <c:v>1798.325113053198</c:v>
                </c:pt>
                <c:pt idx="120">
                  <c:v>4897.6517592520631</c:v>
                </c:pt>
                <c:pt idx="121">
                  <c:v>-53555.559472951885</c:v>
                </c:pt>
                <c:pt idx="122">
                  <c:v>-44727.514871603737</c:v>
                </c:pt>
                <c:pt idx="123">
                  <c:v>-45494.315438550053</c:v>
                </c:pt>
                <c:pt idx="124">
                  <c:v>-43815.13265998484</c:v>
                </c:pt>
                <c:pt idx="125">
                  <c:v>-50186.689579406157</c:v>
                </c:pt>
                <c:pt idx="126">
                  <c:v>-40283.476033577281</c:v>
                </c:pt>
                <c:pt idx="127">
                  <c:v>-39173.592917936097</c:v>
                </c:pt>
                <c:pt idx="128">
                  <c:v>-40777.5007483136</c:v>
                </c:pt>
                <c:pt idx="129">
                  <c:v>-19303.461409698462</c:v>
                </c:pt>
                <c:pt idx="130">
                  <c:v>-13192.020210605349</c:v>
                </c:pt>
                <c:pt idx="131">
                  <c:v>-13618.9249639759</c:v>
                </c:pt>
                <c:pt idx="132">
                  <c:v>-19882.937672025211</c:v>
                </c:pt>
                <c:pt idx="133">
                  <c:v>-29421.026362997251</c:v>
                </c:pt>
                <c:pt idx="134">
                  <c:v>-22710.787792155574</c:v>
                </c:pt>
                <c:pt idx="135">
                  <c:v>-22996.163611870346</c:v>
                </c:pt>
                <c:pt idx="136">
                  <c:v>-11696.26367414471</c:v>
                </c:pt>
                <c:pt idx="137">
                  <c:v>-33156.983905132387</c:v>
                </c:pt>
                <c:pt idx="138">
                  <c:v>-17251.050209942205</c:v>
                </c:pt>
                <c:pt idx="139">
                  <c:v>320916.80767060863</c:v>
                </c:pt>
                <c:pt idx="140">
                  <c:v>18455.869805842911</c:v>
                </c:pt>
                <c:pt idx="141">
                  <c:v>-3200.7499429734871</c:v>
                </c:pt>
                <c:pt idx="142">
                  <c:v>32105.819781770955</c:v>
                </c:pt>
                <c:pt idx="143">
                  <c:v>3197.0319347316604</c:v>
                </c:pt>
                <c:pt idx="144">
                  <c:v>1388.63460769064</c:v>
                </c:pt>
                <c:pt idx="145">
                  <c:v>-6117.3970360267394</c:v>
                </c:pt>
                <c:pt idx="146">
                  <c:v>1457.563139175212</c:v>
                </c:pt>
                <c:pt idx="147">
                  <c:v>359.35768728400734</c:v>
                </c:pt>
                <c:pt idx="148">
                  <c:v>-1749.0521342927257</c:v>
                </c:pt>
                <c:pt idx="149">
                  <c:v>-3864.6345187450129</c:v>
                </c:pt>
                <c:pt idx="150">
                  <c:v>10633.20869005127</c:v>
                </c:pt>
                <c:pt idx="151">
                  <c:v>-420.52181794770354</c:v>
                </c:pt>
                <c:pt idx="152">
                  <c:v>6487.3585905821137</c:v>
                </c:pt>
                <c:pt idx="153">
                  <c:v>8787.5502074776159</c:v>
                </c:pt>
                <c:pt idx="154">
                  <c:v>16434.214971464</c:v>
                </c:pt>
                <c:pt idx="155">
                  <c:v>6659.7606611515357</c:v>
                </c:pt>
                <c:pt idx="156">
                  <c:v>-1405.0379021811473</c:v>
                </c:pt>
                <c:pt idx="157">
                  <c:v>-4381.1828854509349</c:v>
                </c:pt>
                <c:pt idx="158">
                  <c:v>1730.5315996895893</c:v>
                </c:pt>
                <c:pt idx="159">
                  <c:v>-1486.8531404512678</c:v>
                </c:pt>
                <c:pt idx="160">
                  <c:v>-7337.8352602539881</c:v>
                </c:pt>
                <c:pt idx="161">
                  <c:v>-17054.149942664691</c:v>
                </c:pt>
                <c:pt idx="162">
                  <c:v>-3614.7412206548825</c:v>
                </c:pt>
                <c:pt idx="163">
                  <c:v>-5017.7620403548954</c:v>
                </c:pt>
                <c:pt idx="164">
                  <c:v>-6316.3207849645096</c:v>
                </c:pt>
                <c:pt idx="165">
                  <c:v>-190587.95682093699</c:v>
                </c:pt>
                <c:pt idx="166">
                  <c:v>-187460.39886017918</c:v>
                </c:pt>
                <c:pt idx="167">
                  <c:v>-110660.98296309669</c:v>
                </c:pt>
                <c:pt idx="168">
                  <c:v>111.86552494110703</c:v>
                </c:pt>
                <c:pt idx="169">
                  <c:v>-222652.76649768418</c:v>
                </c:pt>
                <c:pt idx="170">
                  <c:v>-143383.15720323901</c:v>
                </c:pt>
                <c:pt idx="171">
                  <c:v>-147928.17672700839</c:v>
                </c:pt>
                <c:pt idx="172">
                  <c:v>-215644.57827268742</c:v>
                </c:pt>
                <c:pt idx="173">
                  <c:v>-151057.09612438199</c:v>
                </c:pt>
                <c:pt idx="174">
                  <c:v>-82605.873901039013</c:v>
                </c:pt>
                <c:pt idx="175">
                  <c:v>-86211.116502863239</c:v>
                </c:pt>
                <c:pt idx="176">
                  <c:v>-83872.565583316362</c:v>
                </c:pt>
                <c:pt idx="177">
                  <c:v>-86111.495874179833</c:v>
                </c:pt>
                <c:pt idx="178">
                  <c:v>-84052.721149887686</c:v>
                </c:pt>
                <c:pt idx="179">
                  <c:v>-83146.644078126628</c:v>
                </c:pt>
                <c:pt idx="180">
                  <c:v>-86998.095561578812</c:v>
                </c:pt>
                <c:pt idx="181">
                  <c:v>29775.997335396965</c:v>
                </c:pt>
                <c:pt idx="182">
                  <c:v>1935.010060850082</c:v>
                </c:pt>
                <c:pt idx="183">
                  <c:v>874.46990654986121</c:v>
                </c:pt>
                <c:pt idx="184">
                  <c:v>1736.2883060790987</c:v>
                </c:pt>
                <c:pt idx="185">
                  <c:v>2599.74132560609</c:v>
                </c:pt>
                <c:pt idx="186">
                  <c:v>-356.68393835552337</c:v>
                </c:pt>
                <c:pt idx="187">
                  <c:v>1733.2665521941783</c:v>
                </c:pt>
                <c:pt idx="188">
                  <c:v>1508.6907515963119</c:v>
                </c:pt>
                <c:pt idx="189">
                  <c:v>2527.2595525823558</c:v>
                </c:pt>
                <c:pt idx="190">
                  <c:v>-402.07291387093449</c:v>
                </c:pt>
                <c:pt idx="191">
                  <c:v>11039.89508419232</c:v>
                </c:pt>
                <c:pt idx="192">
                  <c:v>1648.075965931866</c:v>
                </c:pt>
                <c:pt idx="193">
                  <c:v>1632.3684659811352</c:v>
                </c:pt>
                <c:pt idx="194">
                  <c:v>1872.1524281650256</c:v>
                </c:pt>
                <c:pt idx="195">
                  <c:v>4098.2775432849003</c:v>
                </c:pt>
                <c:pt idx="196">
                  <c:v>-405.07279318162273</c:v>
                </c:pt>
                <c:pt idx="197">
                  <c:v>1149.1027531434702</c:v>
                </c:pt>
                <c:pt idx="198">
                  <c:v>-1519.9563721174829</c:v>
                </c:pt>
                <c:pt idx="199">
                  <c:v>1136.9078755388809</c:v>
                </c:pt>
                <c:pt idx="200">
                  <c:v>639.8257263063374</c:v>
                </c:pt>
                <c:pt idx="201">
                  <c:v>20389.038624914054</c:v>
                </c:pt>
                <c:pt idx="202">
                  <c:v>628122.88888483157</c:v>
                </c:pt>
                <c:pt idx="203">
                  <c:v>689730.60026782088</c:v>
                </c:pt>
                <c:pt idx="204">
                  <c:v>731011.14764579397</c:v>
                </c:pt>
                <c:pt idx="205">
                  <c:v>-8230.0761775117444</c:v>
                </c:pt>
                <c:pt idx="206">
                  <c:v>235623.67211464141</c:v>
                </c:pt>
                <c:pt idx="207">
                  <c:v>1643.3417801221981</c:v>
                </c:pt>
                <c:pt idx="208">
                  <c:v>70.555333083367273</c:v>
                </c:pt>
                <c:pt idx="209">
                  <c:v>21946.87672930125</c:v>
                </c:pt>
                <c:pt idx="210">
                  <c:v>8224.1996667531621</c:v>
                </c:pt>
                <c:pt idx="211">
                  <c:v>7653.4084293412443</c:v>
                </c:pt>
                <c:pt idx="212">
                  <c:v>10029.12719661136</c:v>
                </c:pt>
                <c:pt idx="213">
                  <c:v>-920.84733736048781</c:v>
                </c:pt>
                <c:pt idx="214">
                  <c:v>-600.74426308931538</c:v>
                </c:pt>
                <c:pt idx="215">
                  <c:v>-1272.6330732083868</c:v>
                </c:pt>
                <c:pt idx="216">
                  <c:v>5681.5966196382333</c:v>
                </c:pt>
                <c:pt idx="217">
                  <c:v>-72742.482974584505</c:v>
                </c:pt>
                <c:pt idx="218">
                  <c:v>-57854.765107124724</c:v>
                </c:pt>
                <c:pt idx="219">
                  <c:v>-57899.555408840592</c:v>
                </c:pt>
                <c:pt idx="220">
                  <c:v>-59170.195610167648</c:v>
                </c:pt>
                <c:pt idx="221">
                  <c:v>-12510.619185184189</c:v>
                </c:pt>
                <c:pt idx="222">
                  <c:v>-4708.6645710328248</c:v>
                </c:pt>
                <c:pt idx="223">
                  <c:v>-1296.0400932591999</c:v>
                </c:pt>
                <c:pt idx="224">
                  <c:v>-12722.547684166842</c:v>
                </c:pt>
                <c:pt idx="225">
                  <c:v>-23873.325532925068</c:v>
                </c:pt>
                <c:pt idx="226">
                  <c:v>-14512.008870511721</c:v>
                </c:pt>
                <c:pt idx="227">
                  <c:v>-12452.467600429438</c:v>
                </c:pt>
                <c:pt idx="228">
                  <c:v>-17623.655521450626</c:v>
                </c:pt>
                <c:pt idx="229">
                  <c:v>-26939.906852533604</c:v>
                </c:pt>
                <c:pt idx="230">
                  <c:v>-20543.540466431332</c:v>
                </c:pt>
                <c:pt idx="231">
                  <c:v>-13017.388693037119</c:v>
                </c:pt>
                <c:pt idx="232">
                  <c:v>-8574.5750423301779</c:v>
                </c:pt>
                <c:pt idx="233">
                  <c:v>-30617.050318309906</c:v>
                </c:pt>
                <c:pt idx="234">
                  <c:v>-15280.545033741988</c:v>
                </c:pt>
                <c:pt idx="235">
                  <c:v>-18183.712415629128</c:v>
                </c:pt>
                <c:pt idx="236">
                  <c:v>-16820.83884997464</c:v>
                </c:pt>
                <c:pt idx="237">
                  <c:v>-37171.854428924715</c:v>
                </c:pt>
                <c:pt idx="238">
                  <c:v>-15778.962272767751</c:v>
                </c:pt>
                <c:pt idx="239">
                  <c:v>-21168.987139080222</c:v>
                </c:pt>
                <c:pt idx="240">
                  <c:v>-22090.570013878882</c:v>
                </c:pt>
                <c:pt idx="241">
                  <c:v>-38659.335212960403</c:v>
                </c:pt>
                <c:pt idx="242">
                  <c:v>-21806.95038895799</c:v>
                </c:pt>
                <c:pt idx="243">
                  <c:v>-25812.685613418671</c:v>
                </c:pt>
                <c:pt idx="244">
                  <c:v>-15827.689537404311</c:v>
                </c:pt>
                <c:pt idx="245">
                  <c:v>-34668.535174161094</c:v>
                </c:pt>
                <c:pt idx="246">
                  <c:v>-12364.78742996672</c:v>
                </c:pt>
                <c:pt idx="247">
                  <c:v>169795.72483389426</c:v>
                </c:pt>
                <c:pt idx="248">
                  <c:v>3018.0871752541684</c:v>
                </c:pt>
                <c:pt idx="249">
                  <c:v>-20638.71161060661</c:v>
                </c:pt>
                <c:pt idx="250">
                  <c:v>-8805.3199161391076</c:v>
                </c:pt>
                <c:pt idx="251">
                  <c:v>-10027.526873747838</c:v>
                </c:pt>
                <c:pt idx="252">
                  <c:v>-8894.9113039961521</c:v>
                </c:pt>
                <c:pt idx="253">
                  <c:v>-21404.038277921718</c:v>
                </c:pt>
                <c:pt idx="254">
                  <c:v>-8876.2228005495599</c:v>
                </c:pt>
                <c:pt idx="255">
                  <c:v>-8244.4450828890458</c:v>
                </c:pt>
                <c:pt idx="256">
                  <c:v>-9773.4805772088348</c:v>
                </c:pt>
                <c:pt idx="257">
                  <c:v>-11440.505170776229</c:v>
                </c:pt>
                <c:pt idx="258">
                  <c:v>-7197.1501039780733</c:v>
                </c:pt>
                <c:pt idx="259">
                  <c:v>-7156.2190189332969</c:v>
                </c:pt>
                <c:pt idx="260">
                  <c:v>-14886.952843320198</c:v>
                </c:pt>
                <c:pt idx="261">
                  <c:v>732.3244643314714</c:v>
                </c:pt>
                <c:pt idx="262">
                  <c:v>-7447.801419182113</c:v>
                </c:pt>
                <c:pt idx="263">
                  <c:v>-5312.8012545274041</c:v>
                </c:pt>
                <c:pt idx="264">
                  <c:v>1535.1811950705917</c:v>
                </c:pt>
                <c:pt idx="265">
                  <c:v>-268093.88697475241</c:v>
                </c:pt>
                <c:pt idx="266">
                  <c:v>-263205.29421049444</c:v>
                </c:pt>
                <c:pt idx="267">
                  <c:v>-267202.31494761386</c:v>
                </c:pt>
                <c:pt idx="268">
                  <c:v>-267602.86900780047</c:v>
                </c:pt>
                <c:pt idx="269">
                  <c:v>-221426.23558178032</c:v>
                </c:pt>
                <c:pt idx="270">
                  <c:v>-216778.42291585039</c:v>
                </c:pt>
                <c:pt idx="271">
                  <c:v>-216611.21683800151</c:v>
                </c:pt>
                <c:pt idx="272">
                  <c:v>-216464.7043134034</c:v>
                </c:pt>
                <c:pt idx="273">
                  <c:v>3199.3713596031748</c:v>
                </c:pt>
                <c:pt idx="274">
                  <c:v>945.3120310345148</c:v>
                </c:pt>
                <c:pt idx="275">
                  <c:v>-46202.868470831396</c:v>
                </c:pt>
                <c:pt idx="276">
                  <c:v>3223.6059870777199</c:v>
                </c:pt>
                <c:pt idx="277">
                  <c:v>5643.7234315711557</c:v>
                </c:pt>
                <c:pt idx="278">
                  <c:v>336.78362747487955</c:v>
                </c:pt>
                <c:pt idx="279">
                  <c:v>-83.666859093333798</c:v>
                </c:pt>
                <c:pt idx="280">
                  <c:v>-163.65013187379432</c:v>
                </c:pt>
                <c:pt idx="281">
                  <c:v>4881.6323321341424</c:v>
                </c:pt>
                <c:pt idx="282">
                  <c:v>2296.3775737466772</c:v>
                </c:pt>
                <c:pt idx="283">
                  <c:v>-3236.7356392671268</c:v>
                </c:pt>
                <c:pt idx="284">
                  <c:v>1528.3733890068588</c:v>
                </c:pt>
                <c:pt idx="285">
                  <c:v>4611.1576786566602</c:v>
                </c:pt>
                <c:pt idx="286">
                  <c:v>-834.26669622067254</c:v>
                </c:pt>
                <c:pt idx="287">
                  <c:v>3646.1351316745308</c:v>
                </c:pt>
                <c:pt idx="288">
                  <c:v>1080.0914367327928</c:v>
                </c:pt>
                <c:pt idx="289">
                  <c:v>3784.3424403510708</c:v>
                </c:pt>
                <c:pt idx="290">
                  <c:v>638.75966932822166</c:v>
                </c:pt>
                <c:pt idx="291">
                  <c:v>1828.065124613549</c:v>
                </c:pt>
                <c:pt idx="292">
                  <c:v>630.80490832982571</c:v>
                </c:pt>
                <c:pt idx="293">
                  <c:v>553743.85615628504</c:v>
                </c:pt>
                <c:pt idx="294">
                  <c:v>689272.41568205843</c:v>
                </c:pt>
                <c:pt idx="295">
                  <c:v>22992.245157081099</c:v>
                </c:pt>
                <c:pt idx="296">
                  <c:v>11003.219849826512</c:v>
                </c:pt>
                <c:pt idx="297">
                  <c:v>-1806.8614161884007</c:v>
                </c:pt>
                <c:pt idx="298">
                  <c:v>96.836833563576562</c:v>
                </c:pt>
                <c:pt idx="299">
                  <c:v>-161.40547462013026</c:v>
                </c:pt>
                <c:pt idx="300">
                  <c:v>656463.88593071967</c:v>
                </c:pt>
                <c:pt idx="301">
                  <c:v>-1582.0510047647572</c:v>
                </c:pt>
                <c:pt idx="302">
                  <c:v>425.68589831756771</c:v>
                </c:pt>
                <c:pt idx="303">
                  <c:v>1846.2389949253329</c:v>
                </c:pt>
                <c:pt idx="304">
                  <c:v>4419.2317734288217</c:v>
                </c:pt>
                <c:pt idx="305">
                  <c:v>4915.2098366195214</c:v>
                </c:pt>
                <c:pt idx="306">
                  <c:v>334202.41581602563</c:v>
                </c:pt>
                <c:pt idx="307">
                  <c:v>14107.322299225531</c:v>
                </c:pt>
                <c:pt idx="308">
                  <c:v>10589.458191782789</c:v>
                </c:pt>
                <c:pt idx="309">
                  <c:v>-2714.4384132774749</c:v>
                </c:pt>
                <c:pt idx="310">
                  <c:v>3433.8418461444712</c:v>
                </c:pt>
                <c:pt idx="311">
                  <c:v>-5922.8627842306023</c:v>
                </c:pt>
                <c:pt idx="312">
                  <c:v>972.15394345159211</c:v>
                </c:pt>
                <c:pt idx="313">
                  <c:v>-77269.904149402399</c:v>
                </c:pt>
                <c:pt idx="314">
                  <c:v>-70185.943404584963</c:v>
                </c:pt>
                <c:pt idx="315">
                  <c:v>-71116.609396169064</c:v>
                </c:pt>
                <c:pt idx="316">
                  <c:v>-70799.711576918169</c:v>
                </c:pt>
                <c:pt idx="317">
                  <c:v>-75490.402357912128</c:v>
                </c:pt>
                <c:pt idx="318">
                  <c:v>-61591.994927954707</c:v>
                </c:pt>
                <c:pt idx="319">
                  <c:v>-121911.6920656944</c:v>
                </c:pt>
                <c:pt idx="320">
                  <c:v>-123510.16178009701</c:v>
                </c:pt>
                <c:pt idx="321">
                  <c:v>-21132.927173770415</c:v>
                </c:pt>
                <c:pt idx="322">
                  <c:v>-17227.164910116517</c:v>
                </c:pt>
                <c:pt idx="323">
                  <c:v>-15690.12543736736</c:v>
                </c:pt>
                <c:pt idx="324">
                  <c:v>-24893.129546858938</c:v>
                </c:pt>
                <c:pt idx="325">
                  <c:v>-34140.12290010383</c:v>
                </c:pt>
                <c:pt idx="326">
                  <c:v>-23949.085287322549</c:v>
                </c:pt>
                <c:pt idx="327">
                  <c:v>-23328.331984155466</c:v>
                </c:pt>
                <c:pt idx="328">
                  <c:v>-21634.634463387134</c:v>
                </c:pt>
                <c:pt idx="329">
                  <c:v>-42546.325289077678</c:v>
                </c:pt>
                <c:pt idx="330">
                  <c:v>-25285.907057012151</c:v>
                </c:pt>
                <c:pt idx="331">
                  <c:v>-23539.842850691493</c:v>
                </c:pt>
                <c:pt idx="332">
                  <c:v>-20818.519353926931</c:v>
                </c:pt>
                <c:pt idx="333">
                  <c:v>-39818.802714939411</c:v>
                </c:pt>
                <c:pt idx="334">
                  <c:v>-25214.55475346504</c:v>
                </c:pt>
                <c:pt idx="335">
                  <c:v>-26540.333149792976</c:v>
                </c:pt>
                <c:pt idx="336">
                  <c:v>-29550.644098017288</c:v>
                </c:pt>
                <c:pt idx="337">
                  <c:v>-31080.454544086348</c:v>
                </c:pt>
                <c:pt idx="338">
                  <c:v>-18256.265042092909</c:v>
                </c:pt>
                <c:pt idx="339">
                  <c:v>-25155.750619748746</c:v>
                </c:pt>
                <c:pt idx="340">
                  <c:v>-20004.568517834177</c:v>
                </c:pt>
                <c:pt idx="341">
                  <c:v>-34018.483770700557</c:v>
                </c:pt>
                <c:pt idx="342">
                  <c:v>-15121.797456182101</c:v>
                </c:pt>
                <c:pt idx="343">
                  <c:v>-25362.324645768003</c:v>
                </c:pt>
                <c:pt idx="344">
                  <c:v>-19378.151787753595</c:v>
                </c:pt>
                <c:pt idx="345">
                  <c:v>-30203.174113548841</c:v>
                </c:pt>
                <c:pt idx="346">
                  <c:v>-14558.23401402385</c:v>
                </c:pt>
                <c:pt idx="347">
                  <c:v>-12715.005368111912</c:v>
                </c:pt>
                <c:pt idx="348">
                  <c:v>-9816.1532662250775</c:v>
                </c:pt>
                <c:pt idx="349">
                  <c:v>447655.96393001277</c:v>
                </c:pt>
                <c:pt idx="350">
                  <c:v>15510.194167712221</c:v>
                </c:pt>
                <c:pt idx="351">
                  <c:v>-4542.0432288848833</c:v>
                </c:pt>
                <c:pt idx="352">
                  <c:v>128759.32749294193</c:v>
                </c:pt>
                <c:pt idx="353">
                  <c:v>3422.2775735597493</c:v>
                </c:pt>
                <c:pt idx="354">
                  <c:v>-1184.539176556777</c:v>
                </c:pt>
                <c:pt idx="355">
                  <c:v>806.39321983354728</c:v>
                </c:pt>
                <c:pt idx="356">
                  <c:v>-7343.5972091930089</c:v>
                </c:pt>
                <c:pt idx="357">
                  <c:v>-906.66458686555779</c:v>
                </c:pt>
                <c:pt idx="358">
                  <c:v>2622.5088832343058</c:v>
                </c:pt>
                <c:pt idx="359">
                  <c:v>1076.4742307529489</c:v>
                </c:pt>
                <c:pt idx="360">
                  <c:v>-3824.3650975554874</c:v>
                </c:pt>
                <c:pt idx="361">
                  <c:v>-231783.62444303848</c:v>
                </c:pt>
                <c:pt idx="362">
                  <c:v>-237154.04306772578</c:v>
                </c:pt>
                <c:pt idx="363">
                  <c:v>-240642.19484602107</c:v>
                </c:pt>
                <c:pt idx="364">
                  <c:v>-250123.96110541408</c:v>
                </c:pt>
                <c:pt idx="365">
                  <c:v>-254127.52923109647</c:v>
                </c:pt>
                <c:pt idx="366">
                  <c:v>-22789.222617432752</c:v>
                </c:pt>
                <c:pt idx="367">
                  <c:v>-262699.01264596928</c:v>
                </c:pt>
                <c:pt idx="368">
                  <c:v>-275531.83663528977</c:v>
                </c:pt>
                <c:pt idx="369">
                  <c:v>25949.154017544795</c:v>
                </c:pt>
                <c:pt idx="370">
                  <c:v>-9155.911126760082</c:v>
                </c:pt>
                <c:pt idx="371">
                  <c:v>-6617.9904891883525</c:v>
                </c:pt>
                <c:pt idx="372">
                  <c:v>-4167.244711851964</c:v>
                </c:pt>
                <c:pt idx="373">
                  <c:v>-4317.9988380137611</c:v>
                </c:pt>
                <c:pt idx="374">
                  <c:v>-5878.9784626901201</c:v>
                </c:pt>
                <c:pt idx="375">
                  <c:v>-3208.294118099921</c:v>
                </c:pt>
                <c:pt idx="376">
                  <c:v>2533.4648807842027</c:v>
                </c:pt>
                <c:pt idx="377">
                  <c:v>422.1559382476143</c:v>
                </c:pt>
                <c:pt idx="378">
                  <c:v>1426.499143886736</c:v>
                </c:pt>
                <c:pt idx="379">
                  <c:v>5509.8337362896127</c:v>
                </c:pt>
                <c:pt idx="380">
                  <c:v>5769.3427531086272</c:v>
                </c:pt>
                <c:pt idx="381">
                  <c:v>12477.876489334249</c:v>
                </c:pt>
                <c:pt idx="382">
                  <c:v>5032.7331804527648</c:v>
                </c:pt>
                <c:pt idx="383">
                  <c:v>17882.18732885726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2(AIC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D$2:$D$385</c:f>
              <c:numCache>
                <c:formatCode>General</c:formatCode>
                <c:ptCount val="384"/>
                <c:pt idx="0">
                  <c:v>259.55309520467983</c:v>
                </c:pt>
                <c:pt idx="1">
                  <c:v>1893.7180627698301</c:v>
                </c:pt>
                <c:pt idx="2">
                  <c:v>259.55309520467983</c:v>
                </c:pt>
                <c:pt idx="3">
                  <c:v>259.55309520467983</c:v>
                </c:pt>
                <c:pt idx="4">
                  <c:v>259.55309520467983</c:v>
                </c:pt>
                <c:pt idx="5">
                  <c:v>1893.7180627698301</c:v>
                </c:pt>
                <c:pt idx="6">
                  <c:v>259.55309520467983</c:v>
                </c:pt>
                <c:pt idx="7">
                  <c:v>259.55309520467983</c:v>
                </c:pt>
                <c:pt idx="8">
                  <c:v>259.55309520467983</c:v>
                </c:pt>
                <c:pt idx="9">
                  <c:v>1893.7180627698301</c:v>
                </c:pt>
                <c:pt idx="10">
                  <c:v>259.55309520467983</c:v>
                </c:pt>
                <c:pt idx="11">
                  <c:v>259.55309520467983</c:v>
                </c:pt>
                <c:pt idx="12">
                  <c:v>259.55309520467983</c:v>
                </c:pt>
                <c:pt idx="13">
                  <c:v>1893.7180627698301</c:v>
                </c:pt>
                <c:pt idx="14">
                  <c:v>259.55309520467983</c:v>
                </c:pt>
                <c:pt idx="15">
                  <c:v>259.55309520467983</c:v>
                </c:pt>
                <c:pt idx="16">
                  <c:v>259.55309520467983</c:v>
                </c:pt>
                <c:pt idx="17">
                  <c:v>1893.7180627698301</c:v>
                </c:pt>
                <c:pt idx="18">
                  <c:v>259.55309520467983</c:v>
                </c:pt>
                <c:pt idx="19">
                  <c:v>259.55309520467983</c:v>
                </c:pt>
                <c:pt idx="20">
                  <c:v>259.55309520467983</c:v>
                </c:pt>
                <c:pt idx="21">
                  <c:v>1893.7180627698301</c:v>
                </c:pt>
                <c:pt idx="22">
                  <c:v>259.55309520467983</c:v>
                </c:pt>
                <c:pt idx="23">
                  <c:v>259.55309520467983</c:v>
                </c:pt>
                <c:pt idx="24">
                  <c:v>259.55309520467983</c:v>
                </c:pt>
                <c:pt idx="25">
                  <c:v>1893.7180627698301</c:v>
                </c:pt>
                <c:pt idx="26">
                  <c:v>259.55309520467983</c:v>
                </c:pt>
                <c:pt idx="27">
                  <c:v>259.55309520467983</c:v>
                </c:pt>
                <c:pt idx="28">
                  <c:v>259.55309520467983</c:v>
                </c:pt>
                <c:pt idx="29">
                  <c:v>1893.7180627698301</c:v>
                </c:pt>
                <c:pt idx="30">
                  <c:v>259.55309520467983</c:v>
                </c:pt>
                <c:pt idx="31">
                  <c:v>259.55309520467983</c:v>
                </c:pt>
                <c:pt idx="32">
                  <c:v>259.55309520467983</c:v>
                </c:pt>
                <c:pt idx="33">
                  <c:v>1893.7180627698301</c:v>
                </c:pt>
                <c:pt idx="34">
                  <c:v>259.55309520467983</c:v>
                </c:pt>
                <c:pt idx="35">
                  <c:v>259.55309520467983</c:v>
                </c:pt>
                <c:pt idx="36">
                  <c:v>259.55309520467983</c:v>
                </c:pt>
                <c:pt idx="37">
                  <c:v>1893.7180627698301</c:v>
                </c:pt>
                <c:pt idx="38">
                  <c:v>259.55309520467983</c:v>
                </c:pt>
                <c:pt idx="39">
                  <c:v>259.55309520467983</c:v>
                </c:pt>
                <c:pt idx="40">
                  <c:v>259.55309520467983</c:v>
                </c:pt>
                <c:pt idx="41">
                  <c:v>1893.7180627698301</c:v>
                </c:pt>
                <c:pt idx="42">
                  <c:v>259.55309520467983</c:v>
                </c:pt>
                <c:pt idx="43">
                  <c:v>259.55309520467983</c:v>
                </c:pt>
                <c:pt idx="44">
                  <c:v>259.55309520467983</c:v>
                </c:pt>
                <c:pt idx="45">
                  <c:v>1893.7180627698301</c:v>
                </c:pt>
                <c:pt idx="46">
                  <c:v>259.55309520467983</c:v>
                </c:pt>
                <c:pt idx="47">
                  <c:v>259.55309520467983</c:v>
                </c:pt>
                <c:pt idx="48">
                  <c:v>259.55309520467983</c:v>
                </c:pt>
                <c:pt idx="49">
                  <c:v>1893.7180627698301</c:v>
                </c:pt>
                <c:pt idx="50">
                  <c:v>259.55309520467983</c:v>
                </c:pt>
                <c:pt idx="51">
                  <c:v>259.55309520467983</c:v>
                </c:pt>
                <c:pt idx="52">
                  <c:v>259.55309520467983</c:v>
                </c:pt>
                <c:pt idx="53">
                  <c:v>715085.74450614909</c:v>
                </c:pt>
                <c:pt idx="54">
                  <c:v>685719.99173214391</c:v>
                </c:pt>
                <c:pt idx="55">
                  <c:v>706830.10360250215</c:v>
                </c:pt>
                <c:pt idx="56">
                  <c:v>124585.3771798076</c:v>
                </c:pt>
                <c:pt idx="57">
                  <c:v>259.55309520467983</c:v>
                </c:pt>
                <c:pt idx="58">
                  <c:v>259.55309520467983</c:v>
                </c:pt>
                <c:pt idx="59">
                  <c:v>259.55309520467983</c:v>
                </c:pt>
                <c:pt idx="60">
                  <c:v>147675.68687928989</c:v>
                </c:pt>
                <c:pt idx="61">
                  <c:v>259.55309520467983</c:v>
                </c:pt>
                <c:pt idx="62">
                  <c:v>259.55309520467983</c:v>
                </c:pt>
                <c:pt idx="63">
                  <c:v>10827.098979970458</c:v>
                </c:pt>
                <c:pt idx="64">
                  <c:v>259.55309520467983</c:v>
                </c:pt>
                <c:pt idx="65">
                  <c:v>8332.7054159002637</c:v>
                </c:pt>
                <c:pt idx="66">
                  <c:v>259.55309520467983</c:v>
                </c:pt>
                <c:pt idx="67">
                  <c:v>259.55309520467983</c:v>
                </c:pt>
                <c:pt idx="68">
                  <c:v>259.55309520467983</c:v>
                </c:pt>
                <c:pt idx="69">
                  <c:v>259.55309520467983</c:v>
                </c:pt>
                <c:pt idx="70">
                  <c:v>259.55309520467983</c:v>
                </c:pt>
                <c:pt idx="71">
                  <c:v>259.55309520467983</c:v>
                </c:pt>
                <c:pt idx="72">
                  <c:v>259.55309520467983</c:v>
                </c:pt>
                <c:pt idx="73">
                  <c:v>-78697.793798452592</c:v>
                </c:pt>
                <c:pt idx="74">
                  <c:v>-240233.67427520439</c:v>
                </c:pt>
                <c:pt idx="75">
                  <c:v>-240233.67427520439</c:v>
                </c:pt>
                <c:pt idx="76">
                  <c:v>259.55309520467983</c:v>
                </c:pt>
                <c:pt idx="77">
                  <c:v>-157548.39902320958</c:v>
                </c:pt>
                <c:pt idx="78">
                  <c:v>-166969.70375654299</c:v>
                </c:pt>
                <c:pt idx="79">
                  <c:v>-166969.70375654299</c:v>
                </c:pt>
                <c:pt idx="80">
                  <c:v>-166969.70375654299</c:v>
                </c:pt>
                <c:pt idx="81">
                  <c:v>-166969.70375654299</c:v>
                </c:pt>
                <c:pt idx="82">
                  <c:v>-91495.971431170416</c:v>
                </c:pt>
                <c:pt idx="83">
                  <c:v>-81161.545140133021</c:v>
                </c:pt>
                <c:pt idx="84">
                  <c:v>-81161.545140133021</c:v>
                </c:pt>
                <c:pt idx="85">
                  <c:v>-81161.545140133021</c:v>
                </c:pt>
                <c:pt idx="86">
                  <c:v>-100156.07359700221</c:v>
                </c:pt>
                <c:pt idx="87">
                  <c:v>-91495.971431170416</c:v>
                </c:pt>
                <c:pt idx="88">
                  <c:v>-93264.44062643229</c:v>
                </c:pt>
                <c:pt idx="89">
                  <c:v>44742.555439891708</c:v>
                </c:pt>
                <c:pt idx="90">
                  <c:v>259.55309520467983</c:v>
                </c:pt>
                <c:pt idx="91">
                  <c:v>259.55309520467983</c:v>
                </c:pt>
                <c:pt idx="92">
                  <c:v>259.55309520467983</c:v>
                </c:pt>
                <c:pt idx="93">
                  <c:v>1893.7180627698301</c:v>
                </c:pt>
                <c:pt idx="94">
                  <c:v>259.55309520467983</c:v>
                </c:pt>
                <c:pt idx="95">
                  <c:v>259.55309520467983</c:v>
                </c:pt>
                <c:pt idx="96">
                  <c:v>259.55309520467983</c:v>
                </c:pt>
                <c:pt idx="97">
                  <c:v>1893.7180627698301</c:v>
                </c:pt>
                <c:pt idx="98">
                  <c:v>259.55309520467983</c:v>
                </c:pt>
                <c:pt idx="99">
                  <c:v>259.55309520467983</c:v>
                </c:pt>
                <c:pt idx="100">
                  <c:v>259.55309520467983</c:v>
                </c:pt>
                <c:pt idx="101">
                  <c:v>1893.7180627698301</c:v>
                </c:pt>
                <c:pt idx="102">
                  <c:v>259.55309520467983</c:v>
                </c:pt>
                <c:pt idx="103">
                  <c:v>259.55309520467983</c:v>
                </c:pt>
                <c:pt idx="104">
                  <c:v>259.55309520467983</c:v>
                </c:pt>
                <c:pt idx="105">
                  <c:v>731301.81287563953</c:v>
                </c:pt>
                <c:pt idx="106">
                  <c:v>684272.05613145849</c:v>
                </c:pt>
                <c:pt idx="107">
                  <c:v>32423.352690499098</c:v>
                </c:pt>
                <c:pt idx="108">
                  <c:v>686534.95137417794</c:v>
                </c:pt>
                <c:pt idx="109">
                  <c:v>259.55309520467983</c:v>
                </c:pt>
                <c:pt idx="110">
                  <c:v>259.55309520467983</c:v>
                </c:pt>
                <c:pt idx="111">
                  <c:v>259.55309520467983</c:v>
                </c:pt>
                <c:pt idx="112">
                  <c:v>259.55309520467983</c:v>
                </c:pt>
                <c:pt idx="113">
                  <c:v>234219.59731013479</c:v>
                </c:pt>
                <c:pt idx="114">
                  <c:v>259.55309520467983</c:v>
                </c:pt>
                <c:pt idx="115">
                  <c:v>259.55309520467983</c:v>
                </c:pt>
                <c:pt idx="116">
                  <c:v>259.55309520467983</c:v>
                </c:pt>
                <c:pt idx="117">
                  <c:v>259.55309520467983</c:v>
                </c:pt>
                <c:pt idx="118">
                  <c:v>259.55309520467983</c:v>
                </c:pt>
                <c:pt idx="119">
                  <c:v>259.55309520467983</c:v>
                </c:pt>
                <c:pt idx="120">
                  <c:v>259.55309520467983</c:v>
                </c:pt>
                <c:pt idx="121">
                  <c:v>-59435.156749201073</c:v>
                </c:pt>
                <c:pt idx="122">
                  <c:v>-55594.762531629232</c:v>
                </c:pt>
                <c:pt idx="123">
                  <c:v>-55594.762531629232</c:v>
                </c:pt>
                <c:pt idx="124">
                  <c:v>-55594.762531629232</c:v>
                </c:pt>
                <c:pt idx="125">
                  <c:v>-25065.219303757305</c:v>
                </c:pt>
                <c:pt idx="126">
                  <c:v>-25065.219303757305</c:v>
                </c:pt>
                <c:pt idx="127">
                  <c:v>-25065.219303757305</c:v>
                </c:pt>
                <c:pt idx="128">
                  <c:v>-25065.219303757305</c:v>
                </c:pt>
                <c:pt idx="129">
                  <c:v>259.55309520467983</c:v>
                </c:pt>
                <c:pt idx="130">
                  <c:v>259.55309520467983</c:v>
                </c:pt>
                <c:pt idx="131">
                  <c:v>259.55309520467983</c:v>
                </c:pt>
                <c:pt idx="132">
                  <c:v>259.55309520467983</c:v>
                </c:pt>
                <c:pt idx="133">
                  <c:v>259.55309520467983</c:v>
                </c:pt>
                <c:pt idx="134">
                  <c:v>259.55309520467983</c:v>
                </c:pt>
                <c:pt idx="135">
                  <c:v>259.55309520467983</c:v>
                </c:pt>
                <c:pt idx="136">
                  <c:v>259.55309520467983</c:v>
                </c:pt>
                <c:pt idx="137">
                  <c:v>259.55309520467983</c:v>
                </c:pt>
                <c:pt idx="138">
                  <c:v>259.55309520467983</c:v>
                </c:pt>
                <c:pt idx="139">
                  <c:v>497249.86092634563</c:v>
                </c:pt>
                <c:pt idx="140">
                  <c:v>259.55309520467983</c:v>
                </c:pt>
                <c:pt idx="141">
                  <c:v>259.55309520467983</c:v>
                </c:pt>
                <c:pt idx="142">
                  <c:v>72515.835475857297</c:v>
                </c:pt>
                <c:pt idx="143">
                  <c:v>259.55309520467983</c:v>
                </c:pt>
                <c:pt idx="144">
                  <c:v>259.55309520467983</c:v>
                </c:pt>
                <c:pt idx="145">
                  <c:v>259.55309520467983</c:v>
                </c:pt>
                <c:pt idx="146">
                  <c:v>259.55309520467983</c:v>
                </c:pt>
                <c:pt idx="147">
                  <c:v>259.55309520467983</c:v>
                </c:pt>
                <c:pt idx="148">
                  <c:v>259.55309520467983</c:v>
                </c:pt>
                <c:pt idx="149">
                  <c:v>259.55309520467983</c:v>
                </c:pt>
                <c:pt idx="150">
                  <c:v>9194.1644850159646</c:v>
                </c:pt>
                <c:pt idx="151">
                  <c:v>259.55309520467983</c:v>
                </c:pt>
                <c:pt idx="152">
                  <c:v>259.55309520467983</c:v>
                </c:pt>
                <c:pt idx="153">
                  <c:v>259.55309520467983</c:v>
                </c:pt>
                <c:pt idx="154">
                  <c:v>8176.052135029433</c:v>
                </c:pt>
                <c:pt idx="155">
                  <c:v>259.55309520467983</c:v>
                </c:pt>
                <c:pt idx="156">
                  <c:v>259.55309520467983</c:v>
                </c:pt>
                <c:pt idx="157">
                  <c:v>259.55309520467983</c:v>
                </c:pt>
                <c:pt idx="158">
                  <c:v>8017.6008010118248</c:v>
                </c:pt>
                <c:pt idx="159">
                  <c:v>259.55309520467983</c:v>
                </c:pt>
                <c:pt idx="160">
                  <c:v>259.55309520467983</c:v>
                </c:pt>
                <c:pt idx="161">
                  <c:v>259.55309520467983</c:v>
                </c:pt>
                <c:pt idx="162">
                  <c:v>259.55309520467983</c:v>
                </c:pt>
                <c:pt idx="163">
                  <c:v>259.55309520467983</c:v>
                </c:pt>
                <c:pt idx="164">
                  <c:v>259.55309520467983</c:v>
                </c:pt>
                <c:pt idx="165">
                  <c:v>-157548.39902320958</c:v>
                </c:pt>
                <c:pt idx="166">
                  <c:v>-166969.70375654299</c:v>
                </c:pt>
                <c:pt idx="167">
                  <c:v>-105826.08023947421</c:v>
                </c:pt>
                <c:pt idx="168">
                  <c:v>259.55309520467983</c:v>
                </c:pt>
                <c:pt idx="169">
                  <c:v>-240233.67427520439</c:v>
                </c:pt>
                <c:pt idx="170">
                  <c:v>-109577.37833033552</c:v>
                </c:pt>
                <c:pt idx="171">
                  <c:v>-109577.37833033552</c:v>
                </c:pt>
                <c:pt idx="172">
                  <c:v>-166969.70375654299</c:v>
                </c:pt>
                <c:pt idx="173">
                  <c:v>-109577.37833033552</c:v>
                </c:pt>
                <c:pt idx="174">
                  <c:v>-91495.971431170416</c:v>
                </c:pt>
                <c:pt idx="175">
                  <c:v>-81161.545140133021</c:v>
                </c:pt>
                <c:pt idx="176">
                  <c:v>-82930.014335394808</c:v>
                </c:pt>
                <c:pt idx="177">
                  <c:v>-81161.545140133021</c:v>
                </c:pt>
                <c:pt idx="178">
                  <c:v>-81161.545140133021</c:v>
                </c:pt>
                <c:pt idx="179">
                  <c:v>-81161.545140133021</c:v>
                </c:pt>
                <c:pt idx="180">
                  <c:v>-81161.545140133021</c:v>
                </c:pt>
                <c:pt idx="181">
                  <c:v>44742.555439891708</c:v>
                </c:pt>
                <c:pt idx="182">
                  <c:v>259.55309520467983</c:v>
                </c:pt>
                <c:pt idx="183">
                  <c:v>259.55309520467983</c:v>
                </c:pt>
                <c:pt idx="184">
                  <c:v>259.55309520467983</c:v>
                </c:pt>
                <c:pt idx="185">
                  <c:v>1893.7180627698301</c:v>
                </c:pt>
                <c:pt idx="186">
                  <c:v>259.55309520467983</c:v>
                </c:pt>
                <c:pt idx="187">
                  <c:v>259.55309520467983</c:v>
                </c:pt>
                <c:pt idx="188">
                  <c:v>259.55309520467983</c:v>
                </c:pt>
                <c:pt idx="189">
                  <c:v>1893.7180627698301</c:v>
                </c:pt>
                <c:pt idx="190">
                  <c:v>259.55309520467983</c:v>
                </c:pt>
                <c:pt idx="191">
                  <c:v>259.55309520467983</c:v>
                </c:pt>
                <c:pt idx="192">
                  <c:v>259.55309520467983</c:v>
                </c:pt>
                <c:pt idx="193">
                  <c:v>1893.7180627698301</c:v>
                </c:pt>
                <c:pt idx="194">
                  <c:v>259.55309520467983</c:v>
                </c:pt>
                <c:pt idx="195">
                  <c:v>259.55309520467983</c:v>
                </c:pt>
                <c:pt idx="196">
                  <c:v>259.55309520467983</c:v>
                </c:pt>
                <c:pt idx="197">
                  <c:v>1893.7180627698301</c:v>
                </c:pt>
                <c:pt idx="198">
                  <c:v>259.55309520467983</c:v>
                </c:pt>
                <c:pt idx="199">
                  <c:v>259.55309520467983</c:v>
                </c:pt>
                <c:pt idx="200">
                  <c:v>259.55309520467983</c:v>
                </c:pt>
                <c:pt idx="201">
                  <c:v>38285.216479103197</c:v>
                </c:pt>
                <c:pt idx="202">
                  <c:v>627472.05843367241</c:v>
                </c:pt>
                <c:pt idx="203">
                  <c:v>684312.33949640719</c:v>
                </c:pt>
                <c:pt idx="204">
                  <c:v>716599.41114603775</c:v>
                </c:pt>
                <c:pt idx="205">
                  <c:v>259.55309520467983</c:v>
                </c:pt>
                <c:pt idx="206">
                  <c:v>234219.59731013479</c:v>
                </c:pt>
                <c:pt idx="207">
                  <c:v>259.55309520467983</c:v>
                </c:pt>
                <c:pt idx="208">
                  <c:v>259.55309520467983</c:v>
                </c:pt>
                <c:pt idx="209">
                  <c:v>12909.794642900892</c:v>
                </c:pt>
                <c:pt idx="210">
                  <c:v>259.55309520467983</c:v>
                </c:pt>
                <c:pt idx="211">
                  <c:v>259.55309520467983</c:v>
                </c:pt>
                <c:pt idx="212">
                  <c:v>259.55309520467983</c:v>
                </c:pt>
                <c:pt idx="213">
                  <c:v>259.55309520467983</c:v>
                </c:pt>
                <c:pt idx="214">
                  <c:v>259.55309520467983</c:v>
                </c:pt>
                <c:pt idx="215">
                  <c:v>259.55309520467983</c:v>
                </c:pt>
                <c:pt idx="216">
                  <c:v>259.55309520467983</c:v>
                </c:pt>
                <c:pt idx="217">
                  <c:v>-74800.300960928493</c:v>
                </c:pt>
                <c:pt idx="218">
                  <c:v>-74800.300960928493</c:v>
                </c:pt>
                <c:pt idx="219">
                  <c:v>-74800.300960928493</c:v>
                </c:pt>
                <c:pt idx="220">
                  <c:v>-76568.770156190294</c:v>
                </c:pt>
                <c:pt idx="221">
                  <c:v>259.55309520467983</c:v>
                </c:pt>
                <c:pt idx="222">
                  <c:v>259.55309520467983</c:v>
                </c:pt>
                <c:pt idx="223">
                  <c:v>259.55309520467983</c:v>
                </c:pt>
                <c:pt idx="224">
                  <c:v>259.55309520467983</c:v>
                </c:pt>
                <c:pt idx="225">
                  <c:v>259.55309520467983</c:v>
                </c:pt>
                <c:pt idx="226">
                  <c:v>259.55309520467983</c:v>
                </c:pt>
                <c:pt idx="227">
                  <c:v>259.55309520467983</c:v>
                </c:pt>
                <c:pt idx="228">
                  <c:v>259.55309520467983</c:v>
                </c:pt>
                <c:pt idx="229">
                  <c:v>259.55309520467983</c:v>
                </c:pt>
                <c:pt idx="230">
                  <c:v>259.55309520467983</c:v>
                </c:pt>
                <c:pt idx="231">
                  <c:v>259.55309520467983</c:v>
                </c:pt>
                <c:pt idx="232">
                  <c:v>259.55309520467983</c:v>
                </c:pt>
                <c:pt idx="233">
                  <c:v>259.55309520467983</c:v>
                </c:pt>
                <c:pt idx="234">
                  <c:v>259.55309520467983</c:v>
                </c:pt>
                <c:pt idx="235">
                  <c:v>259.55309520467983</c:v>
                </c:pt>
                <c:pt idx="236">
                  <c:v>259.55309520467983</c:v>
                </c:pt>
                <c:pt idx="237">
                  <c:v>259.55309520467983</c:v>
                </c:pt>
                <c:pt idx="238">
                  <c:v>259.55309520467983</c:v>
                </c:pt>
                <c:pt idx="239">
                  <c:v>259.55309520467983</c:v>
                </c:pt>
                <c:pt idx="240">
                  <c:v>259.55309520467983</c:v>
                </c:pt>
                <c:pt idx="241">
                  <c:v>259.55309520467983</c:v>
                </c:pt>
                <c:pt idx="242">
                  <c:v>259.55309520467983</c:v>
                </c:pt>
                <c:pt idx="243">
                  <c:v>259.55309520467983</c:v>
                </c:pt>
                <c:pt idx="244">
                  <c:v>259.55309520467983</c:v>
                </c:pt>
                <c:pt idx="245">
                  <c:v>259.55309520467983</c:v>
                </c:pt>
                <c:pt idx="246">
                  <c:v>259.55309520467983</c:v>
                </c:pt>
                <c:pt idx="247">
                  <c:v>377502.56496539025</c:v>
                </c:pt>
                <c:pt idx="248">
                  <c:v>259.55309520467983</c:v>
                </c:pt>
                <c:pt idx="249">
                  <c:v>259.55309520467983</c:v>
                </c:pt>
                <c:pt idx="250">
                  <c:v>259.55309520467983</c:v>
                </c:pt>
                <c:pt idx="251">
                  <c:v>259.55309520467983</c:v>
                </c:pt>
                <c:pt idx="252">
                  <c:v>259.55309520467983</c:v>
                </c:pt>
                <c:pt idx="253">
                  <c:v>259.55309520467983</c:v>
                </c:pt>
                <c:pt idx="254">
                  <c:v>259.55309520467983</c:v>
                </c:pt>
                <c:pt idx="255">
                  <c:v>259.55309520467983</c:v>
                </c:pt>
                <c:pt idx="256">
                  <c:v>259.55309520467983</c:v>
                </c:pt>
                <c:pt idx="257">
                  <c:v>259.55309520467983</c:v>
                </c:pt>
                <c:pt idx="258">
                  <c:v>259.55309520467983</c:v>
                </c:pt>
                <c:pt idx="259">
                  <c:v>259.55309520467983</c:v>
                </c:pt>
                <c:pt idx="260">
                  <c:v>259.55309520467983</c:v>
                </c:pt>
                <c:pt idx="261">
                  <c:v>259.55309520467983</c:v>
                </c:pt>
                <c:pt idx="262">
                  <c:v>259.55309520467983</c:v>
                </c:pt>
                <c:pt idx="263">
                  <c:v>259.55309520467983</c:v>
                </c:pt>
                <c:pt idx="264">
                  <c:v>259.55309520467983</c:v>
                </c:pt>
                <c:pt idx="265">
                  <c:v>-273964.22593679151</c:v>
                </c:pt>
                <c:pt idx="266">
                  <c:v>-273964.22593679151</c:v>
                </c:pt>
                <c:pt idx="267">
                  <c:v>-278587.64969046263</c:v>
                </c:pt>
                <c:pt idx="268">
                  <c:v>-278587.64969046263</c:v>
                </c:pt>
                <c:pt idx="269">
                  <c:v>-166969.70375654299</c:v>
                </c:pt>
                <c:pt idx="270">
                  <c:v>-166969.70375654299</c:v>
                </c:pt>
                <c:pt idx="271">
                  <c:v>-166969.70375654299</c:v>
                </c:pt>
                <c:pt idx="272">
                  <c:v>-178159.71551257468</c:v>
                </c:pt>
                <c:pt idx="273">
                  <c:v>259.55309520467983</c:v>
                </c:pt>
                <c:pt idx="274">
                  <c:v>259.55309520467983</c:v>
                </c:pt>
                <c:pt idx="275">
                  <c:v>-25065.219303757305</c:v>
                </c:pt>
                <c:pt idx="276">
                  <c:v>259.55309520467983</c:v>
                </c:pt>
                <c:pt idx="277">
                  <c:v>8406.6844991060734</c:v>
                </c:pt>
                <c:pt idx="278">
                  <c:v>259.55309520467983</c:v>
                </c:pt>
                <c:pt idx="279">
                  <c:v>259.55309520467983</c:v>
                </c:pt>
                <c:pt idx="280">
                  <c:v>259.55309520467983</c:v>
                </c:pt>
                <c:pt idx="281">
                  <c:v>6246.5233675364716</c:v>
                </c:pt>
                <c:pt idx="282">
                  <c:v>259.55309520467983</c:v>
                </c:pt>
                <c:pt idx="283">
                  <c:v>259.55309520467983</c:v>
                </c:pt>
                <c:pt idx="284">
                  <c:v>259.55309520467983</c:v>
                </c:pt>
                <c:pt idx="285">
                  <c:v>4173.1939417120111</c:v>
                </c:pt>
                <c:pt idx="286">
                  <c:v>259.55309520467983</c:v>
                </c:pt>
                <c:pt idx="287">
                  <c:v>259.55309520467983</c:v>
                </c:pt>
                <c:pt idx="288">
                  <c:v>259.55309520467983</c:v>
                </c:pt>
                <c:pt idx="289">
                  <c:v>4173.1939417120111</c:v>
                </c:pt>
                <c:pt idx="290">
                  <c:v>259.55309520467983</c:v>
                </c:pt>
                <c:pt idx="291">
                  <c:v>259.55309520467983</c:v>
                </c:pt>
                <c:pt idx="292">
                  <c:v>259.55309520467983</c:v>
                </c:pt>
                <c:pt idx="293">
                  <c:v>569889.5482831985</c:v>
                </c:pt>
                <c:pt idx="294">
                  <c:v>686022.25746463402</c:v>
                </c:pt>
                <c:pt idx="295">
                  <c:v>259.55309520467983</c:v>
                </c:pt>
                <c:pt idx="296">
                  <c:v>259.55309520467983</c:v>
                </c:pt>
                <c:pt idx="297">
                  <c:v>259.55309520467983</c:v>
                </c:pt>
                <c:pt idx="298">
                  <c:v>259.55309520467983</c:v>
                </c:pt>
                <c:pt idx="299">
                  <c:v>259.55309520467983</c:v>
                </c:pt>
                <c:pt idx="300">
                  <c:v>647627.61607358791</c:v>
                </c:pt>
                <c:pt idx="301">
                  <c:v>259.55309520467983</c:v>
                </c:pt>
                <c:pt idx="302">
                  <c:v>259.55309520467983</c:v>
                </c:pt>
                <c:pt idx="303">
                  <c:v>259.55309520467983</c:v>
                </c:pt>
                <c:pt idx="304">
                  <c:v>259.55309520467983</c:v>
                </c:pt>
                <c:pt idx="305">
                  <c:v>259.55309520467983</c:v>
                </c:pt>
                <c:pt idx="306">
                  <c:v>381804.10682810366</c:v>
                </c:pt>
                <c:pt idx="307">
                  <c:v>259.55309520467983</c:v>
                </c:pt>
                <c:pt idx="308">
                  <c:v>259.55309520467983</c:v>
                </c:pt>
                <c:pt idx="309">
                  <c:v>259.55309520467983</c:v>
                </c:pt>
                <c:pt idx="310">
                  <c:v>259.55309520467983</c:v>
                </c:pt>
                <c:pt idx="311">
                  <c:v>259.55309520467983</c:v>
                </c:pt>
                <c:pt idx="312">
                  <c:v>259.55309520467983</c:v>
                </c:pt>
                <c:pt idx="313">
                  <c:v>-78697.793798452592</c:v>
                </c:pt>
                <c:pt idx="314">
                  <c:v>-78697.793798452592</c:v>
                </c:pt>
                <c:pt idx="315">
                  <c:v>-78697.793798452592</c:v>
                </c:pt>
                <c:pt idx="316">
                  <c:v>-76568.770156190294</c:v>
                </c:pt>
                <c:pt idx="317">
                  <c:v>-74800.300960928493</c:v>
                </c:pt>
                <c:pt idx="318">
                  <c:v>-59435.156749201073</c:v>
                </c:pt>
                <c:pt idx="319">
                  <c:v>-100156.07359700221</c:v>
                </c:pt>
                <c:pt idx="320">
                  <c:v>-109577.37833033552</c:v>
                </c:pt>
                <c:pt idx="321">
                  <c:v>259.55309520467983</c:v>
                </c:pt>
                <c:pt idx="322">
                  <c:v>259.55309520467983</c:v>
                </c:pt>
                <c:pt idx="323">
                  <c:v>259.55309520467983</c:v>
                </c:pt>
                <c:pt idx="324">
                  <c:v>259.55309520467983</c:v>
                </c:pt>
                <c:pt idx="325">
                  <c:v>259.55309520467983</c:v>
                </c:pt>
                <c:pt idx="326">
                  <c:v>259.55309520467983</c:v>
                </c:pt>
                <c:pt idx="327">
                  <c:v>259.55309520467983</c:v>
                </c:pt>
                <c:pt idx="328">
                  <c:v>259.55309520467983</c:v>
                </c:pt>
                <c:pt idx="329">
                  <c:v>259.55309520467983</c:v>
                </c:pt>
                <c:pt idx="330">
                  <c:v>259.55309520467983</c:v>
                </c:pt>
                <c:pt idx="331">
                  <c:v>259.55309520467983</c:v>
                </c:pt>
                <c:pt idx="332">
                  <c:v>259.55309520467983</c:v>
                </c:pt>
                <c:pt idx="333">
                  <c:v>259.55309520467983</c:v>
                </c:pt>
                <c:pt idx="334">
                  <c:v>259.55309520467983</c:v>
                </c:pt>
                <c:pt idx="335">
                  <c:v>259.55309520467983</c:v>
                </c:pt>
                <c:pt idx="336">
                  <c:v>259.55309520467983</c:v>
                </c:pt>
                <c:pt idx="337">
                  <c:v>259.55309520467983</c:v>
                </c:pt>
                <c:pt idx="338">
                  <c:v>259.55309520467983</c:v>
                </c:pt>
                <c:pt idx="339">
                  <c:v>259.55309520467983</c:v>
                </c:pt>
                <c:pt idx="340">
                  <c:v>259.55309520467983</c:v>
                </c:pt>
                <c:pt idx="341">
                  <c:v>259.55309520467983</c:v>
                </c:pt>
                <c:pt idx="342">
                  <c:v>259.55309520467983</c:v>
                </c:pt>
                <c:pt idx="343">
                  <c:v>259.55309520467983</c:v>
                </c:pt>
                <c:pt idx="344">
                  <c:v>259.55309520467983</c:v>
                </c:pt>
                <c:pt idx="345">
                  <c:v>259.55309520467983</c:v>
                </c:pt>
                <c:pt idx="346">
                  <c:v>259.55309520467983</c:v>
                </c:pt>
                <c:pt idx="347">
                  <c:v>259.55309520467983</c:v>
                </c:pt>
                <c:pt idx="348">
                  <c:v>259.55309520467983</c:v>
                </c:pt>
                <c:pt idx="349">
                  <c:v>518186.4500123437</c:v>
                </c:pt>
                <c:pt idx="350">
                  <c:v>259.55309520467983</c:v>
                </c:pt>
                <c:pt idx="351">
                  <c:v>259.55309520467983</c:v>
                </c:pt>
                <c:pt idx="352">
                  <c:v>240365.36463786676</c:v>
                </c:pt>
                <c:pt idx="353">
                  <c:v>259.55309520467983</c:v>
                </c:pt>
                <c:pt idx="354">
                  <c:v>259.55309520467983</c:v>
                </c:pt>
                <c:pt idx="355">
                  <c:v>259.55309520467983</c:v>
                </c:pt>
                <c:pt idx="356">
                  <c:v>259.55309520467983</c:v>
                </c:pt>
                <c:pt idx="357">
                  <c:v>259.55309520467983</c:v>
                </c:pt>
                <c:pt idx="358">
                  <c:v>259.55309520467983</c:v>
                </c:pt>
                <c:pt idx="359">
                  <c:v>259.55309520467983</c:v>
                </c:pt>
                <c:pt idx="360">
                  <c:v>259.55309520467983</c:v>
                </c:pt>
                <c:pt idx="361">
                  <c:v>-278065.53132813482</c:v>
                </c:pt>
                <c:pt idx="362">
                  <c:v>-278065.53132813482</c:v>
                </c:pt>
                <c:pt idx="363">
                  <c:v>-282688.95508180617</c:v>
                </c:pt>
                <c:pt idx="364">
                  <c:v>-282688.95508180617</c:v>
                </c:pt>
                <c:pt idx="365">
                  <c:v>-278065.53132813482</c:v>
                </c:pt>
                <c:pt idx="366">
                  <c:v>-16194.440948878571</c:v>
                </c:pt>
                <c:pt idx="367">
                  <c:v>-282688.95508180617</c:v>
                </c:pt>
                <c:pt idx="368">
                  <c:v>-282688.95508180617</c:v>
                </c:pt>
                <c:pt idx="369">
                  <c:v>54675.608018134459</c:v>
                </c:pt>
                <c:pt idx="370">
                  <c:v>259.55309520467983</c:v>
                </c:pt>
                <c:pt idx="371">
                  <c:v>259.55309520467983</c:v>
                </c:pt>
                <c:pt idx="372">
                  <c:v>259.55309520467983</c:v>
                </c:pt>
                <c:pt idx="373">
                  <c:v>1421.963595216107</c:v>
                </c:pt>
                <c:pt idx="374">
                  <c:v>259.55309520467983</c:v>
                </c:pt>
                <c:pt idx="375">
                  <c:v>259.55309520467983</c:v>
                </c:pt>
                <c:pt idx="376">
                  <c:v>259.55309520467983</c:v>
                </c:pt>
                <c:pt idx="377">
                  <c:v>1421.963595216107</c:v>
                </c:pt>
                <c:pt idx="378">
                  <c:v>259.55309520467983</c:v>
                </c:pt>
                <c:pt idx="379">
                  <c:v>259.55309520467983</c:v>
                </c:pt>
                <c:pt idx="380">
                  <c:v>259.55309520467983</c:v>
                </c:pt>
                <c:pt idx="381">
                  <c:v>1421.963595216107</c:v>
                </c:pt>
                <c:pt idx="382">
                  <c:v>259.55309520467983</c:v>
                </c:pt>
                <c:pt idx="383">
                  <c:v>259.55309520467983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5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93</c:v>
                </c:pt>
                <c:pt idx="10">
                  <c:v>43267.10416666665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5</c:v>
                </c:pt>
                <c:pt idx="14">
                  <c:v>43267.145833333336</c:v>
                </c:pt>
                <c:pt idx="15">
                  <c:v>43267.156250000007</c:v>
                </c:pt>
                <c:pt idx="16">
                  <c:v>43267.16666666665</c:v>
                </c:pt>
                <c:pt idx="17">
                  <c:v>43267.177083333328</c:v>
                </c:pt>
                <c:pt idx="18">
                  <c:v>43267.1875</c:v>
                </c:pt>
                <c:pt idx="19">
                  <c:v>43267.19791666665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642</c:v>
                </c:pt>
                <c:pt idx="23">
                  <c:v>43267.239583333328</c:v>
                </c:pt>
                <c:pt idx="24">
                  <c:v>43267.25</c:v>
                </c:pt>
                <c:pt idx="25">
                  <c:v>43267.26041666665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642</c:v>
                </c:pt>
                <c:pt idx="29">
                  <c:v>43267.302083333336</c:v>
                </c:pt>
                <c:pt idx="30">
                  <c:v>43267.312500000007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07</c:v>
                </c:pt>
                <c:pt idx="40">
                  <c:v>43267.416666666657</c:v>
                </c:pt>
                <c:pt idx="41">
                  <c:v>43267.427083333328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5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5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93</c:v>
                </c:pt>
                <c:pt idx="58">
                  <c:v>43267.60416666665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5</c:v>
                </c:pt>
                <c:pt idx="62">
                  <c:v>43267.645833333336</c:v>
                </c:pt>
                <c:pt idx="63">
                  <c:v>43267.656250000007</c:v>
                </c:pt>
                <c:pt idx="64">
                  <c:v>43267.66666666665</c:v>
                </c:pt>
                <c:pt idx="65">
                  <c:v>43267.677083333328</c:v>
                </c:pt>
                <c:pt idx="66">
                  <c:v>43267.6875</c:v>
                </c:pt>
                <c:pt idx="67">
                  <c:v>43267.69791666665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642</c:v>
                </c:pt>
                <c:pt idx="71">
                  <c:v>43267.739583333328</c:v>
                </c:pt>
                <c:pt idx="72">
                  <c:v>43267.75</c:v>
                </c:pt>
                <c:pt idx="73">
                  <c:v>43267.76041666665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642</c:v>
                </c:pt>
                <c:pt idx="77">
                  <c:v>43267.802083333336</c:v>
                </c:pt>
                <c:pt idx="78">
                  <c:v>43267.812500000007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07</c:v>
                </c:pt>
                <c:pt idx="88">
                  <c:v>43267.916666666657</c:v>
                </c:pt>
                <c:pt idx="89">
                  <c:v>43267.927083333328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5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5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93</c:v>
                </c:pt>
                <c:pt idx="106">
                  <c:v>43268.10416666665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5</c:v>
                </c:pt>
                <c:pt idx="110">
                  <c:v>43268.145833333336</c:v>
                </c:pt>
                <c:pt idx="111">
                  <c:v>43268.156250000007</c:v>
                </c:pt>
                <c:pt idx="112">
                  <c:v>43268.16666666665</c:v>
                </c:pt>
                <c:pt idx="113">
                  <c:v>43268.177083333328</c:v>
                </c:pt>
                <c:pt idx="114">
                  <c:v>43268.1875</c:v>
                </c:pt>
                <c:pt idx="115">
                  <c:v>43268.19791666665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642</c:v>
                </c:pt>
                <c:pt idx="119">
                  <c:v>43268.239583333328</c:v>
                </c:pt>
                <c:pt idx="120">
                  <c:v>43268.25</c:v>
                </c:pt>
                <c:pt idx="121">
                  <c:v>43268.26041666665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642</c:v>
                </c:pt>
                <c:pt idx="125">
                  <c:v>43268.302083333336</c:v>
                </c:pt>
                <c:pt idx="126">
                  <c:v>43268.312500000007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07</c:v>
                </c:pt>
                <c:pt idx="136">
                  <c:v>43268.416666666657</c:v>
                </c:pt>
                <c:pt idx="137">
                  <c:v>43268.427083333328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5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5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93</c:v>
                </c:pt>
                <c:pt idx="154">
                  <c:v>43268.60416666665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5</c:v>
                </c:pt>
                <c:pt idx="158">
                  <c:v>43268.645833333336</c:v>
                </c:pt>
                <c:pt idx="159">
                  <c:v>43268.656250000007</c:v>
                </c:pt>
                <c:pt idx="160">
                  <c:v>43268.66666666665</c:v>
                </c:pt>
                <c:pt idx="161">
                  <c:v>43268.677083333328</c:v>
                </c:pt>
                <c:pt idx="162">
                  <c:v>43268.6875</c:v>
                </c:pt>
                <c:pt idx="163">
                  <c:v>43268.69791666665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642</c:v>
                </c:pt>
                <c:pt idx="167">
                  <c:v>43268.739583333328</c:v>
                </c:pt>
                <c:pt idx="168">
                  <c:v>43268.75</c:v>
                </c:pt>
                <c:pt idx="169">
                  <c:v>43268.76041666665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642</c:v>
                </c:pt>
                <c:pt idx="173">
                  <c:v>43268.802083333336</c:v>
                </c:pt>
                <c:pt idx="174">
                  <c:v>43268.812500000007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07</c:v>
                </c:pt>
                <c:pt idx="184">
                  <c:v>43268.916666666657</c:v>
                </c:pt>
                <c:pt idx="185">
                  <c:v>43268.927083333328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5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5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93</c:v>
                </c:pt>
                <c:pt idx="202">
                  <c:v>43269.10416666665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5</c:v>
                </c:pt>
                <c:pt idx="206">
                  <c:v>43269.145833333336</c:v>
                </c:pt>
                <c:pt idx="207">
                  <c:v>43269.156250000007</c:v>
                </c:pt>
                <c:pt idx="208">
                  <c:v>43269.16666666665</c:v>
                </c:pt>
                <c:pt idx="209">
                  <c:v>43269.177083333328</c:v>
                </c:pt>
                <c:pt idx="210">
                  <c:v>43269.1875</c:v>
                </c:pt>
                <c:pt idx="211">
                  <c:v>43269.19791666665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642</c:v>
                </c:pt>
                <c:pt idx="215">
                  <c:v>43269.239583333328</c:v>
                </c:pt>
                <c:pt idx="216">
                  <c:v>43269.25</c:v>
                </c:pt>
                <c:pt idx="217">
                  <c:v>43269.26041666665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642</c:v>
                </c:pt>
                <c:pt idx="221">
                  <c:v>43269.302083333336</c:v>
                </c:pt>
                <c:pt idx="222">
                  <c:v>43269.312500000007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07</c:v>
                </c:pt>
                <c:pt idx="232">
                  <c:v>43269.416666666657</c:v>
                </c:pt>
                <c:pt idx="233">
                  <c:v>43269.427083333328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5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5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93</c:v>
                </c:pt>
                <c:pt idx="250">
                  <c:v>43269.60416666665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5</c:v>
                </c:pt>
                <c:pt idx="254">
                  <c:v>43269.645833333336</c:v>
                </c:pt>
                <c:pt idx="255">
                  <c:v>43269.656250000007</c:v>
                </c:pt>
                <c:pt idx="256">
                  <c:v>43269.66666666665</c:v>
                </c:pt>
                <c:pt idx="257">
                  <c:v>43269.677083333328</c:v>
                </c:pt>
                <c:pt idx="258">
                  <c:v>43269.6875</c:v>
                </c:pt>
                <c:pt idx="259">
                  <c:v>43269.69791666665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642</c:v>
                </c:pt>
                <c:pt idx="263">
                  <c:v>43269.739583333328</c:v>
                </c:pt>
                <c:pt idx="264">
                  <c:v>43269.75</c:v>
                </c:pt>
                <c:pt idx="265">
                  <c:v>43269.76041666665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642</c:v>
                </c:pt>
                <c:pt idx="269">
                  <c:v>43269.802083333336</c:v>
                </c:pt>
                <c:pt idx="270">
                  <c:v>43269.812500000007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07</c:v>
                </c:pt>
                <c:pt idx="280">
                  <c:v>43269.916666666657</c:v>
                </c:pt>
                <c:pt idx="281">
                  <c:v>43269.927083333328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5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5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93</c:v>
                </c:pt>
                <c:pt idx="298">
                  <c:v>43270.10416666665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5</c:v>
                </c:pt>
                <c:pt idx="302">
                  <c:v>43270.145833333336</c:v>
                </c:pt>
                <c:pt idx="303">
                  <c:v>43270.156250000007</c:v>
                </c:pt>
                <c:pt idx="304">
                  <c:v>43270.16666666665</c:v>
                </c:pt>
                <c:pt idx="305">
                  <c:v>43270.177083333328</c:v>
                </c:pt>
                <c:pt idx="306">
                  <c:v>43270.1875</c:v>
                </c:pt>
                <c:pt idx="307">
                  <c:v>43270.19791666665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642</c:v>
                </c:pt>
                <c:pt idx="311">
                  <c:v>43270.239583333328</c:v>
                </c:pt>
                <c:pt idx="312">
                  <c:v>43270.25</c:v>
                </c:pt>
                <c:pt idx="313">
                  <c:v>43270.26041666665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642</c:v>
                </c:pt>
                <c:pt idx="317">
                  <c:v>43270.302083333336</c:v>
                </c:pt>
                <c:pt idx="318">
                  <c:v>43270.312500000007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07</c:v>
                </c:pt>
                <c:pt idx="328">
                  <c:v>43270.416666666657</c:v>
                </c:pt>
                <c:pt idx="329">
                  <c:v>43270.427083333328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5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5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93</c:v>
                </c:pt>
                <c:pt idx="346">
                  <c:v>43270.60416666665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5</c:v>
                </c:pt>
                <c:pt idx="350">
                  <c:v>43270.645833333336</c:v>
                </c:pt>
                <c:pt idx="351">
                  <c:v>43270.656250000007</c:v>
                </c:pt>
                <c:pt idx="352">
                  <c:v>43270.66666666665</c:v>
                </c:pt>
                <c:pt idx="353">
                  <c:v>43270.677083333328</c:v>
                </c:pt>
                <c:pt idx="354">
                  <c:v>43270.6875</c:v>
                </c:pt>
                <c:pt idx="355">
                  <c:v>43270.69791666665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642</c:v>
                </c:pt>
                <c:pt idx="359">
                  <c:v>43270.739583333328</c:v>
                </c:pt>
                <c:pt idx="360">
                  <c:v>43270.75</c:v>
                </c:pt>
                <c:pt idx="361">
                  <c:v>43270.76041666665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642</c:v>
                </c:pt>
                <c:pt idx="365">
                  <c:v>43270.802083333336</c:v>
                </c:pt>
                <c:pt idx="366">
                  <c:v>43270.812500000007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07</c:v>
                </c:pt>
                <c:pt idx="376">
                  <c:v>43270.916666666657</c:v>
                </c:pt>
                <c:pt idx="377">
                  <c:v>43270.927083333328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5</c:v>
                </c:pt>
                <c:pt idx="383">
                  <c:v>43270.989583333336</c:v>
                </c:pt>
              </c:numCache>
            </c:numRef>
          </c:xVal>
          <c:yVal>
            <c:numRef>
              <c:f>Tabelle1!$E$2:$E$385</c:f>
              <c:numCache>
                <c:formatCode>General</c:formatCode>
                <c:ptCount val="384"/>
                <c:pt idx="0">
                  <c:v>1138.3028796968508</c:v>
                </c:pt>
                <c:pt idx="1">
                  <c:v>6206.0482762832398</c:v>
                </c:pt>
                <c:pt idx="2">
                  <c:v>1514.4540536776751</c:v>
                </c:pt>
                <c:pt idx="3">
                  <c:v>1722.2106904344159</c:v>
                </c:pt>
                <c:pt idx="4">
                  <c:v>848.57037720567939</c:v>
                </c:pt>
                <c:pt idx="5">
                  <c:v>6053.1447092531544</c:v>
                </c:pt>
                <c:pt idx="6">
                  <c:v>1356.3220627904991</c:v>
                </c:pt>
                <c:pt idx="7">
                  <c:v>1373.2264422060148</c:v>
                </c:pt>
                <c:pt idx="8">
                  <c:v>-216.38391013772952</c:v>
                </c:pt>
                <c:pt idx="9">
                  <c:v>5105.8901549500652</c:v>
                </c:pt>
                <c:pt idx="10">
                  <c:v>156.84287460509461</c:v>
                </c:pt>
                <c:pt idx="11">
                  <c:v>166.75492426443796</c:v>
                </c:pt>
                <c:pt idx="12">
                  <c:v>34.529684897727762</c:v>
                </c:pt>
                <c:pt idx="13">
                  <c:v>4859.6588043047113</c:v>
                </c:pt>
                <c:pt idx="14">
                  <c:v>260.56521306020903</c:v>
                </c:pt>
                <c:pt idx="15">
                  <c:v>597.78892898522349</c:v>
                </c:pt>
                <c:pt idx="16">
                  <c:v>353.82775955804647</c:v>
                </c:pt>
                <c:pt idx="17">
                  <c:v>5433.2727621311478</c:v>
                </c:pt>
                <c:pt idx="18">
                  <c:v>602.67098506222112</c:v>
                </c:pt>
                <c:pt idx="19">
                  <c:v>638.28214549314691</c:v>
                </c:pt>
                <c:pt idx="20">
                  <c:v>1500.2435784682502</c:v>
                </c:pt>
                <c:pt idx="21">
                  <c:v>5596.7206051241201</c:v>
                </c:pt>
                <c:pt idx="22">
                  <c:v>1110.8162656055861</c:v>
                </c:pt>
                <c:pt idx="23">
                  <c:v>928.52994710061319</c:v>
                </c:pt>
                <c:pt idx="24">
                  <c:v>1700.5456292548399</c:v>
                </c:pt>
                <c:pt idx="25">
                  <c:v>5238.5033983334579</c:v>
                </c:pt>
                <c:pt idx="26">
                  <c:v>296.31559253724168</c:v>
                </c:pt>
                <c:pt idx="27">
                  <c:v>209.14911196269949</c:v>
                </c:pt>
                <c:pt idx="28">
                  <c:v>2424.8198043803104</c:v>
                </c:pt>
                <c:pt idx="29">
                  <c:v>4201.0074085929346</c:v>
                </c:pt>
                <c:pt idx="30">
                  <c:v>-102.52198628912751</c:v>
                </c:pt>
                <c:pt idx="31">
                  <c:v>295.40469589705481</c:v>
                </c:pt>
                <c:pt idx="32">
                  <c:v>1176.2355551219944</c:v>
                </c:pt>
                <c:pt idx="33">
                  <c:v>3361.6785853296969</c:v>
                </c:pt>
                <c:pt idx="34">
                  <c:v>-1009.0948536104701</c:v>
                </c:pt>
                <c:pt idx="35">
                  <c:v>-1015.6487518482911</c:v>
                </c:pt>
                <c:pt idx="36">
                  <c:v>-183.8839129930272</c:v>
                </c:pt>
                <c:pt idx="37">
                  <c:v>3651.9937255269992</c:v>
                </c:pt>
                <c:pt idx="38">
                  <c:v>-440.47348461683771</c:v>
                </c:pt>
                <c:pt idx="39">
                  <c:v>-1222.6359172529808</c:v>
                </c:pt>
                <c:pt idx="40">
                  <c:v>239.97742899715502</c:v>
                </c:pt>
                <c:pt idx="41">
                  <c:v>2311.0897167263961</c:v>
                </c:pt>
                <c:pt idx="42">
                  <c:v>-1299.6717983408607</c:v>
                </c:pt>
                <c:pt idx="43">
                  <c:v>-1678.5012473785248</c:v>
                </c:pt>
                <c:pt idx="44">
                  <c:v>-2346.0101037809286</c:v>
                </c:pt>
                <c:pt idx="45">
                  <c:v>1707.7367534202197</c:v>
                </c:pt>
                <c:pt idx="46">
                  <c:v>-3017.1151644173528</c:v>
                </c:pt>
                <c:pt idx="47">
                  <c:v>-2009.6631302104374</c:v>
                </c:pt>
                <c:pt idx="48">
                  <c:v>-1362.076485533298</c:v>
                </c:pt>
                <c:pt idx="49">
                  <c:v>2233.7260374351549</c:v>
                </c:pt>
                <c:pt idx="50">
                  <c:v>-2031.7313322024938</c:v>
                </c:pt>
                <c:pt idx="51">
                  <c:v>-1129.3500965980306</c:v>
                </c:pt>
                <c:pt idx="52">
                  <c:v>-1612.9165263062782</c:v>
                </c:pt>
                <c:pt idx="53">
                  <c:v>683056.63266188349</c:v>
                </c:pt>
                <c:pt idx="54">
                  <c:v>659415.77684385329</c:v>
                </c:pt>
                <c:pt idx="55">
                  <c:v>679382.47522676305</c:v>
                </c:pt>
                <c:pt idx="56">
                  <c:v>144156.50582156962</c:v>
                </c:pt>
                <c:pt idx="57">
                  <c:v>-273.94519472904898</c:v>
                </c:pt>
                <c:pt idx="58">
                  <c:v>-1060.911240061665</c:v>
                </c:pt>
                <c:pt idx="59">
                  <c:v>-812.04255581162113</c:v>
                </c:pt>
                <c:pt idx="60">
                  <c:v>152367.10126431743</c:v>
                </c:pt>
                <c:pt idx="61">
                  <c:v>-856.61534810705234</c:v>
                </c:pt>
                <c:pt idx="62">
                  <c:v>-2494.2199847996926</c:v>
                </c:pt>
                <c:pt idx="63">
                  <c:v>13151.92886265818</c:v>
                </c:pt>
                <c:pt idx="64">
                  <c:v>-2703.3737664685705</c:v>
                </c:pt>
                <c:pt idx="65">
                  <c:v>7539.302575399558</c:v>
                </c:pt>
                <c:pt idx="66">
                  <c:v>-2691.1541080482029</c:v>
                </c:pt>
                <c:pt idx="67">
                  <c:v>-2426.0675519330143</c:v>
                </c:pt>
                <c:pt idx="68">
                  <c:v>-2764.4614655123</c:v>
                </c:pt>
                <c:pt idx="69">
                  <c:v>-1342.1436126726978</c:v>
                </c:pt>
                <c:pt idx="70">
                  <c:v>-2123.1460949187986</c:v>
                </c:pt>
                <c:pt idx="71">
                  <c:v>-1714.7590406693678</c:v>
                </c:pt>
                <c:pt idx="72">
                  <c:v>-2219.0467802452818</c:v>
                </c:pt>
                <c:pt idx="73">
                  <c:v>-79870.717035412221</c:v>
                </c:pt>
                <c:pt idx="74">
                  <c:v>-217348.18424240578</c:v>
                </c:pt>
                <c:pt idx="75">
                  <c:v>-218027.07587906913</c:v>
                </c:pt>
                <c:pt idx="76">
                  <c:v>-1515.8343702283435</c:v>
                </c:pt>
                <c:pt idx="77">
                  <c:v>-155107.150769589</c:v>
                </c:pt>
                <c:pt idx="78">
                  <c:v>-153894.59609086739</c:v>
                </c:pt>
                <c:pt idx="79">
                  <c:v>-153720.91396266891</c:v>
                </c:pt>
                <c:pt idx="80">
                  <c:v>-154929.82875723438</c:v>
                </c:pt>
                <c:pt idx="81">
                  <c:v>-153330.04590042293</c:v>
                </c:pt>
                <c:pt idx="82">
                  <c:v>-81116.246074664028</c:v>
                </c:pt>
                <c:pt idx="83">
                  <c:v>-81038.076854513143</c:v>
                </c:pt>
                <c:pt idx="84">
                  <c:v>-81091.521498326154</c:v>
                </c:pt>
                <c:pt idx="85">
                  <c:v>-81212.54872684335</c:v>
                </c:pt>
                <c:pt idx="86">
                  <c:v>-146686.53291487391</c:v>
                </c:pt>
                <c:pt idx="87">
                  <c:v>-81047.171647092706</c:v>
                </c:pt>
                <c:pt idx="88">
                  <c:v>-79022.650389114729</c:v>
                </c:pt>
                <c:pt idx="89">
                  <c:v>40685.426955382609</c:v>
                </c:pt>
                <c:pt idx="90">
                  <c:v>281.95201602182527</c:v>
                </c:pt>
                <c:pt idx="91">
                  <c:v>359.14159881862793</c:v>
                </c:pt>
                <c:pt idx="92">
                  <c:v>69.629466052393866</c:v>
                </c:pt>
                <c:pt idx="93">
                  <c:v>5413.8757406188815</c:v>
                </c:pt>
                <c:pt idx="94">
                  <c:v>402.93676021787803</c:v>
                </c:pt>
                <c:pt idx="95">
                  <c:v>563.6838811461356</c:v>
                </c:pt>
                <c:pt idx="96">
                  <c:v>205.11335617840697</c:v>
                </c:pt>
                <c:pt idx="97">
                  <c:v>5476.1131186725079</c:v>
                </c:pt>
                <c:pt idx="98">
                  <c:v>700.15426891740503</c:v>
                </c:pt>
                <c:pt idx="99">
                  <c:v>769.56958551484422</c:v>
                </c:pt>
                <c:pt idx="100">
                  <c:v>69.728235137845317</c:v>
                </c:pt>
                <c:pt idx="101">
                  <c:v>5696.7777463105476</c:v>
                </c:pt>
                <c:pt idx="102">
                  <c:v>371.53609052869564</c:v>
                </c:pt>
                <c:pt idx="103">
                  <c:v>433.53454206127776</c:v>
                </c:pt>
                <c:pt idx="104">
                  <c:v>5.4713662774947815</c:v>
                </c:pt>
                <c:pt idx="105">
                  <c:v>744909.28992450493</c:v>
                </c:pt>
                <c:pt idx="106">
                  <c:v>684467.33430185751</c:v>
                </c:pt>
                <c:pt idx="107">
                  <c:v>32934.831380796582</c:v>
                </c:pt>
                <c:pt idx="108">
                  <c:v>681037.7528245654</c:v>
                </c:pt>
                <c:pt idx="109">
                  <c:v>143.60135542064708</c:v>
                </c:pt>
                <c:pt idx="110">
                  <c:v>1657.1453112638328</c:v>
                </c:pt>
                <c:pt idx="111">
                  <c:v>1678.08546418282</c:v>
                </c:pt>
                <c:pt idx="112">
                  <c:v>972.60656704201176</c:v>
                </c:pt>
                <c:pt idx="113">
                  <c:v>259783.88590532969</c:v>
                </c:pt>
                <c:pt idx="114">
                  <c:v>2470.2465857036673</c:v>
                </c:pt>
                <c:pt idx="115">
                  <c:v>2246.8571290194473</c:v>
                </c:pt>
                <c:pt idx="116">
                  <c:v>1337.3747833485609</c:v>
                </c:pt>
                <c:pt idx="117">
                  <c:v>2258.2602279896814</c:v>
                </c:pt>
                <c:pt idx="118">
                  <c:v>1384.7353230359699</c:v>
                </c:pt>
                <c:pt idx="119">
                  <c:v>1578.8621324735298</c:v>
                </c:pt>
                <c:pt idx="120">
                  <c:v>2283.5533252712639</c:v>
                </c:pt>
                <c:pt idx="121">
                  <c:v>-59880.695182536656</c:v>
                </c:pt>
                <c:pt idx="122">
                  <c:v>-59657.126674191291</c:v>
                </c:pt>
                <c:pt idx="123">
                  <c:v>-57698.986025113198</c:v>
                </c:pt>
                <c:pt idx="124">
                  <c:v>-54484.618606947442</c:v>
                </c:pt>
                <c:pt idx="125">
                  <c:v>-44272.634461843227</c:v>
                </c:pt>
                <c:pt idx="126">
                  <c:v>-43510.27038155646</c:v>
                </c:pt>
                <c:pt idx="127">
                  <c:v>-42401.071417574654</c:v>
                </c:pt>
                <c:pt idx="128">
                  <c:v>-39275.727706459526</c:v>
                </c:pt>
                <c:pt idx="129">
                  <c:v>898.74299162903515</c:v>
                </c:pt>
                <c:pt idx="130">
                  <c:v>-152.20893548971333</c:v>
                </c:pt>
                <c:pt idx="131">
                  <c:v>-177.80160965145569</c:v>
                </c:pt>
                <c:pt idx="132">
                  <c:v>235.26199842778433</c:v>
                </c:pt>
                <c:pt idx="133">
                  <c:v>871.65924057569691</c:v>
                </c:pt>
                <c:pt idx="134">
                  <c:v>-324.87950870427716</c:v>
                </c:pt>
                <c:pt idx="135">
                  <c:v>-361.37127030652061</c:v>
                </c:pt>
                <c:pt idx="136">
                  <c:v>-1315.1732277843987</c:v>
                </c:pt>
                <c:pt idx="137">
                  <c:v>-832.19913486504845</c:v>
                </c:pt>
                <c:pt idx="138">
                  <c:v>-2299.881750483692</c:v>
                </c:pt>
                <c:pt idx="139">
                  <c:v>508274.52864663186</c:v>
                </c:pt>
                <c:pt idx="140">
                  <c:v>-193.53169980457571</c:v>
                </c:pt>
                <c:pt idx="141">
                  <c:v>-951.69575826736502</c:v>
                </c:pt>
                <c:pt idx="142">
                  <c:v>68318.811250418352</c:v>
                </c:pt>
                <c:pt idx="143">
                  <c:v>-2229.4417864760703</c:v>
                </c:pt>
                <c:pt idx="144">
                  <c:v>-2121.7273170647309</c:v>
                </c:pt>
                <c:pt idx="145">
                  <c:v>-611.43380355911609</c:v>
                </c:pt>
                <c:pt idx="146">
                  <c:v>-2555.3250188666561</c:v>
                </c:pt>
                <c:pt idx="147">
                  <c:v>-1774.8732375587667</c:v>
                </c:pt>
                <c:pt idx="148">
                  <c:v>-2590.5679162200122</c:v>
                </c:pt>
                <c:pt idx="149">
                  <c:v>-319.76127907355072</c:v>
                </c:pt>
                <c:pt idx="150">
                  <c:v>10603.080695802289</c:v>
                </c:pt>
                <c:pt idx="151">
                  <c:v>-2135.5832969101052</c:v>
                </c:pt>
                <c:pt idx="152">
                  <c:v>-2246.88928104658</c:v>
                </c:pt>
                <c:pt idx="153">
                  <c:v>-37.727581015946505</c:v>
                </c:pt>
                <c:pt idx="154">
                  <c:v>7706.4668076933094</c:v>
                </c:pt>
                <c:pt idx="155">
                  <c:v>-1847.9506791435713</c:v>
                </c:pt>
                <c:pt idx="156">
                  <c:v>-1929.8724609806741</c:v>
                </c:pt>
                <c:pt idx="157">
                  <c:v>-85.694049522781199</c:v>
                </c:pt>
                <c:pt idx="158">
                  <c:v>6854.0735297880647</c:v>
                </c:pt>
                <c:pt idx="159">
                  <c:v>-1374.877495133012</c:v>
                </c:pt>
                <c:pt idx="160">
                  <c:v>-2195.6125581959191</c:v>
                </c:pt>
                <c:pt idx="161">
                  <c:v>-1241.0811426416399</c:v>
                </c:pt>
                <c:pt idx="162">
                  <c:v>-2592.1274937883081</c:v>
                </c:pt>
                <c:pt idx="163">
                  <c:v>-2038.413140305054</c:v>
                </c:pt>
                <c:pt idx="164">
                  <c:v>-2875.3334485315968</c:v>
                </c:pt>
                <c:pt idx="165">
                  <c:v>-184999.32604533821</c:v>
                </c:pt>
                <c:pt idx="166">
                  <c:v>-186295.45377921793</c:v>
                </c:pt>
                <c:pt idx="167">
                  <c:v>-106757.8748920465</c:v>
                </c:pt>
                <c:pt idx="168">
                  <c:v>-1775.926545528866</c:v>
                </c:pt>
                <c:pt idx="169">
                  <c:v>-218005.40892776923</c:v>
                </c:pt>
                <c:pt idx="170">
                  <c:v>-145155.16335113504</c:v>
                </c:pt>
                <c:pt idx="171">
                  <c:v>-144793.70868467601</c:v>
                </c:pt>
                <c:pt idx="172">
                  <c:v>-211898.31064402379</c:v>
                </c:pt>
                <c:pt idx="173">
                  <c:v>-147690.41299269616</c:v>
                </c:pt>
                <c:pt idx="174">
                  <c:v>-82761.640904247688</c:v>
                </c:pt>
                <c:pt idx="175">
                  <c:v>-82548.168044859471</c:v>
                </c:pt>
                <c:pt idx="176">
                  <c:v>-84023.591763599004</c:v>
                </c:pt>
                <c:pt idx="177">
                  <c:v>-81978.817245704267</c:v>
                </c:pt>
                <c:pt idx="178">
                  <c:v>-81664.533209373752</c:v>
                </c:pt>
                <c:pt idx="179">
                  <c:v>-79929.25145151146</c:v>
                </c:pt>
                <c:pt idx="180">
                  <c:v>-81733.44871010544</c:v>
                </c:pt>
                <c:pt idx="181">
                  <c:v>39603.714271332283</c:v>
                </c:pt>
                <c:pt idx="182">
                  <c:v>412.58867484329812</c:v>
                </c:pt>
                <c:pt idx="183">
                  <c:v>441.36201872560326</c:v>
                </c:pt>
                <c:pt idx="184">
                  <c:v>33.731181940581379</c:v>
                </c:pt>
                <c:pt idx="185">
                  <c:v>5587.8287668077319</c:v>
                </c:pt>
                <c:pt idx="186">
                  <c:v>394.46044922401637</c:v>
                </c:pt>
                <c:pt idx="187">
                  <c:v>577.25392834462389</c:v>
                </c:pt>
                <c:pt idx="188">
                  <c:v>40.90726210863491</c:v>
                </c:pt>
                <c:pt idx="189">
                  <c:v>5552.3146133286245</c:v>
                </c:pt>
                <c:pt idx="190">
                  <c:v>741.91606437796111</c:v>
                </c:pt>
                <c:pt idx="191">
                  <c:v>768.97140018965376</c:v>
                </c:pt>
                <c:pt idx="192">
                  <c:v>-126.1934214763169</c:v>
                </c:pt>
                <c:pt idx="193">
                  <c:v>5429.9730782438191</c:v>
                </c:pt>
                <c:pt idx="194">
                  <c:v>474.83598408082895</c:v>
                </c:pt>
                <c:pt idx="195">
                  <c:v>727.59839602445754</c:v>
                </c:pt>
                <c:pt idx="196">
                  <c:v>107.86080464913051</c:v>
                </c:pt>
                <c:pt idx="197">
                  <c:v>5335.3555683850354</c:v>
                </c:pt>
                <c:pt idx="198">
                  <c:v>241.60742228278161</c:v>
                </c:pt>
                <c:pt idx="199">
                  <c:v>496.79817302819475</c:v>
                </c:pt>
                <c:pt idx="200">
                  <c:v>-1.7650321246040712</c:v>
                </c:pt>
                <c:pt idx="201">
                  <c:v>31046.661764621938</c:v>
                </c:pt>
                <c:pt idx="202">
                  <c:v>627401.76303811872</c:v>
                </c:pt>
                <c:pt idx="203">
                  <c:v>685100.57240487379</c:v>
                </c:pt>
                <c:pt idx="204">
                  <c:v>716938.65174769924</c:v>
                </c:pt>
                <c:pt idx="205">
                  <c:v>-1013.171657340496</c:v>
                </c:pt>
                <c:pt idx="206">
                  <c:v>256483.81738535274</c:v>
                </c:pt>
                <c:pt idx="207">
                  <c:v>463.61201434059973</c:v>
                </c:pt>
                <c:pt idx="208">
                  <c:v>358.7438702335707</c:v>
                </c:pt>
                <c:pt idx="209">
                  <c:v>23149.812993133481</c:v>
                </c:pt>
                <c:pt idx="210">
                  <c:v>1212.7485573207875</c:v>
                </c:pt>
                <c:pt idx="211">
                  <c:v>1011.4585720587711</c:v>
                </c:pt>
                <c:pt idx="212">
                  <c:v>1817.8048729393417</c:v>
                </c:pt>
                <c:pt idx="213">
                  <c:v>1307.9429262135068</c:v>
                </c:pt>
                <c:pt idx="214">
                  <c:v>1172.5201043241971</c:v>
                </c:pt>
                <c:pt idx="215">
                  <c:v>1063.8507985784117</c:v>
                </c:pt>
                <c:pt idx="216">
                  <c:v>1188.891090684665</c:v>
                </c:pt>
                <c:pt idx="217">
                  <c:v>-68845.23066177321</c:v>
                </c:pt>
                <c:pt idx="218">
                  <c:v>-68109.427628256351</c:v>
                </c:pt>
                <c:pt idx="219">
                  <c:v>-66330.50564545166</c:v>
                </c:pt>
                <c:pt idx="220">
                  <c:v>-61756.692997709586</c:v>
                </c:pt>
                <c:pt idx="221">
                  <c:v>-362.45930185984838</c:v>
                </c:pt>
                <c:pt idx="222">
                  <c:v>-809.55450616449332</c:v>
                </c:pt>
                <c:pt idx="223">
                  <c:v>-1140.2969719886833</c:v>
                </c:pt>
                <c:pt idx="224">
                  <c:v>99.158121140868218</c:v>
                </c:pt>
                <c:pt idx="225">
                  <c:v>-567.59390238775393</c:v>
                </c:pt>
                <c:pt idx="226">
                  <c:v>-1447.1073103436649</c:v>
                </c:pt>
                <c:pt idx="227">
                  <c:v>-1831.6788315728747</c:v>
                </c:pt>
                <c:pt idx="228">
                  <c:v>-1086.0478512697332</c:v>
                </c:pt>
                <c:pt idx="229">
                  <c:v>-1873.0275043961631</c:v>
                </c:pt>
                <c:pt idx="230">
                  <c:v>-2050.1711465256462</c:v>
                </c:pt>
                <c:pt idx="231">
                  <c:v>-3051.1405449558274</c:v>
                </c:pt>
                <c:pt idx="232">
                  <c:v>-3302.989314539539</c:v>
                </c:pt>
                <c:pt idx="233">
                  <c:v>-3043.4699730803895</c:v>
                </c:pt>
                <c:pt idx="234">
                  <c:v>-3842.1750651119446</c:v>
                </c:pt>
                <c:pt idx="235">
                  <c:v>-3663.1027445427007</c:v>
                </c:pt>
                <c:pt idx="236">
                  <c:v>-3585.5580191406057</c:v>
                </c:pt>
                <c:pt idx="237">
                  <c:v>-3319.6023212220766</c:v>
                </c:pt>
                <c:pt idx="238">
                  <c:v>-4690.0173231476774</c:v>
                </c:pt>
                <c:pt idx="239">
                  <c:v>-4312.2914422786835</c:v>
                </c:pt>
                <c:pt idx="240">
                  <c:v>-3208.056383923808</c:v>
                </c:pt>
                <c:pt idx="241">
                  <c:v>-3069.3151803925375</c:v>
                </c:pt>
                <c:pt idx="242">
                  <c:v>-4812.9330609933277</c:v>
                </c:pt>
                <c:pt idx="243">
                  <c:v>-3331.1772726561012</c:v>
                </c:pt>
                <c:pt idx="244">
                  <c:v>-5197.3367875443937</c:v>
                </c:pt>
                <c:pt idx="245">
                  <c:v>-3015.5154531954063</c:v>
                </c:pt>
                <c:pt idx="246">
                  <c:v>-4181.4294325639466</c:v>
                </c:pt>
                <c:pt idx="247">
                  <c:v>311935.24112837465</c:v>
                </c:pt>
                <c:pt idx="248">
                  <c:v>-5018.8564834189719</c:v>
                </c:pt>
                <c:pt idx="249">
                  <c:v>-3283.7691990550206</c:v>
                </c:pt>
                <c:pt idx="250">
                  <c:v>-3636.3471394767712</c:v>
                </c:pt>
                <c:pt idx="251">
                  <c:v>-3439.5856965665812</c:v>
                </c:pt>
                <c:pt idx="252">
                  <c:v>-3631.1091808679248</c:v>
                </c:pt>
                <c:pt idx="253">
                  <c:v>-2059.3621043822645</c:v>
                </c:pt>
                <c:pt idx="254">
                  <c:v>-2926.5940996762101</c:v>
                </c:pt>
                <c:pt idx="255">
                  <c:v>-2567.049092192246</c:v>
                </c:pt>
                <c:pt idx="256">
                  <c:v>-2672.0436859656443</c:v>
                </c:pt>
                <c:pt idx="257">
                  <c:v>-1815.0019267144407</c:v>
                </c:pt>
                <c:pt idx="258">
                  <c:v>-2276.5151735471118</c:v>
                </c:pt>
                <c:pt idx="259">
                  <c:v>-2190.1645062037251</c:v>
                </c:pt>
                <c:pt idx="260">
                  <c:v>-3574.7731577665672</c:v>
                </c:pt>
                <c:pt idx="261">
                  <c:v>-1573.3708373687739</c:v>
                </c:pt>
                <c:pt idx="262">
                  <c:v>-1655.0450666031422</c:v>
                </c:pt>
                <c:pt idx="263">
                  <c:v>-1552.989223244608</c:v>
                </c:pt>
                <c:pt idx="264">
                  <c:v>-1734.4153906677082</c:v>
                </c:pt>
                <c:pt idx="265">
                  <c:v>-258629.47086086881</c:v>
                </c:pt>
                <c:pt idx="266">
                  <c:v>-257006.26948985251</c:v>
                </c:pt>
                <c:pt idx="267">
                  <c:v>-256810.43647864528</c:v>
                </c:pt>
                <c:pt idx="268">
                  <c:v>-259180.77157383339</c:v>
                </c:pt>
                <c:pt idx="269">
                  <c:v>-210626.867419936</c:v>
                </c:pt>
                <c:pt idx="270">
                  <c:v>-209650.17252177204</c:v>
                </c:pt>
                <c:pt idx="271">
                  <c:v>-209646.39754362279</c:v>
                </c:pt>
                <c:pt idx="272">
                  <c:v>-211115.34688432916</c:v>
                </c:pt>
                <c:pt idx="273">
                  <c:v>226.70287764249122</c:v>
                </c:pt>
                <c:pt idx="274">
                  <c:v>554.39489301893025</c:v>
                </c:pt>
                <c:pt idx="275">
                  <c:v>-41693.284578955165</c:v>
                </c:pt>
                <c:pt idx="276">
                  <c:v>482.54655251059626</c:v>
                </c:pt>
                <c:pt idx="277">
                  <c:v>10594.699975720037</c:v>
                </c:pt>
                <c:pt idx="278">
                  <c:v>616.11297665636994</c:v>
                </c:pt>
                <c:pt idx="279">
                  <c:v>621.57545127698404</c:v>
                </c:pt>
                <c:pt idx="280">
                  <c:v>262.43165907052537</c:v>
                </c:pt>
                <c:pt idx="281">
                  <c:v>8740.4712952076425</c:v>
                </c:pt>
                <c:pt idx="282">
                  <c:v>869.78260101888554</c:v>
                </c:pt>
                <c:pt idx="283">
                  <c:v>731.1332351994655</c:v>
                </c:pt>
                <c:pt idx="284">
                  <c:v>385.64995298847566</c:v>
                </c:pt>
                <c:pt idx="285">
                  <c:v>8129.3498714859679</c:v>
                </c:pt>
                <c:pt idx="286">
                  <c:v>307.23425965764312</c:v>
                </c:pt>
                <c:pt idx="287">
                  <c:v>754.78596640180342</c:v>
                </c:pt>
                <c:pt idx="288">
                  <c:v>115.53689320368028</c:v>
                </c:pt>
                <c:pt idx="289">
                  <c:v>7784.4578477184486</c:v>
                </c:pt>
                <c:pt idx="290">
                  <c:v>443.54224926998279</c:v>
                </c:pt>
                <c:pt idx="291">
                  <c:v>505.96671213480818</c:v>
                </c:pt>
                <c:pt idx="292">
                  <c:v>164.76319504648777</c:v>
                </c:pt>
                <c:pt idx="293">
                  <c:v>564889.960383386</c:v>
                </c:pt>
                <c:pt idx="294">
                  <c:v>678668.40092429705</c:v>
                </c:pt>
                <c:pt idx="295">
                  <c:v>2765.6703693957747</c:v>
                </c:pt>
                <c:pt idx="296">
                  <c:v>901.74589892507367</c:v>
                </c:pt>
                <c:pt idx="297">
                  <c:v>509.45524337581458</c:v>
                </c:pt>
                <c:pt idx="298">
                  <c:v>441.59115186030624</c:v>
                </c:pt>
                <c:pt idx="299">
                  <c:v>553.20692895711022</c:v>
                </c:pt>
                <c:pt idx="300">
                  <c:v>663983.89889799943</c:v>
                </c:pt>
                <c:pt idx="301">
                  <c:v>-1430.2567480959249</c:v>
                </c:pt>
                <c:pt idx="302">
                  <c:v>165.38316802068661</c:v>
                </c:pt>
                <c:pt idx="303">
                  <c:v>342.16250476887967</c:v>
                </c:pt>
                <c:pt idx="304">
                  <c:v>-229.45401515246229</c:v>
                </c:pt>
                <c:pt idx="305">
                  <c:v>990.11551461916099</c:v>
                </c:pt>
                <c:pt idx="306">
                  <c:v>361311.45615523984</c:v>
                </c:pt>
                <c:pt idx="307">
                  <c:v>831.91100730476091</c:v>
                </c:pt>
                <c:pt idx="308">
                  <c:v>1572.9881746978479</c:v>
                </c:pt>
                <c:pt idx="309">
                  <c:v>998.7328707309822</c:v>
                </c:pt>
                <c:pt idx="310">
                  <c:v>557.81141185739239</c:v>
                </c:pt>
                <c:pt idx="311">
                  <c:v>781.54765204639318</c:v>
                </c:pt>
                <c:pt idx="312">
                  <c:v>1205.2846117021961</c:v>
                </c:pt>
                <c:pt idx="313">
                  <c:v>-74618.074426369654</c:v>
                </c:pt>
                <c:pt idx="314">
                  <c:v>-73224.635230238928</c:v>
                </c:pt>
                <c:pt idx="315">
                  <c:v>-71449.576012985097</c:v>
                </c:pt>
                <c:pt idx="316">
                  <c:v>-68342.541490818316</c:v>
                </c:pt>
                <c:pt idx="317">
                  <c:v>-65137.283969318276</c:v>
                </c:pt>
                <c:pt idx="318">
                  <c:v>-64382.492455163279</c:v>
                </c:pt>
                <c:pt idx="319">
                  <c:v>-121654.33549433733</c:v>
                </c:pt>
                <c:pt idx="320">
                  <c:v>-119658.34971218312</c:v>
                </c:pt>
                <c:pt idx="321">
                  <c:v>-1368.3683576313858</c:v>
                </c:pt>
                <c:pt idx="322">
                  <c:v>-1764.9147859361242</c:v>
                </c:pt>
                <c:pt idx="323">
                  <c:v>-1910.6981892252891</c:v>
                </c:pt>
                <c:pt idx="324">
                  <c:v>-1156.1448930498989</c:v>
                </c:pt>
                <c:pt idx="325">
                  <c:v>-1538.6697399955108</c:v>
                </c:pt>
                <c:pt idx="326">
                  <c:v>-1794.3357849705419</c:v>
                </c:pt>
                <c:pt idx="327">
                  <c:v>-1938.7249821589787</c:v>
                </c:pt>
                <c:pt idx="328">
                  <c:v>-1445.1394485555265</c:v>
                </c:pt>
                <c:pt idx="329">
                  <c:v>-2557.3656516766441</c:v>
                </c:pt>
                <c:pt idx="330">
                  <c:v>-3376.3474156743614</c:v>
                </c:pt>
                <c:pt idx="331">
                  <c:v>-3178.02050309895</c:v>
                </c:pt>
                <c:pt idx="332">
                  <c:v>-2699.982423661329</c:v>
                </c:pt>
                <c:pt idx="333">
                  <c:v>-3798.690684883366</c:v>
                </c:pt>
                <c:pt idx="334">
                  <c:v>-3989.9039002914524</c:v>
                </c:pt>
                <c:pt idx="335">
                  <c:v>-3717.6707776559101</c:v>
                </c:pt>
                <c:pt idx="336">
                  <c:v>-4412.6500887410793</c:v>
                </c:pt>
                <c:pt idx="337">
                  <c:v>-4382.6508415563567</c:v>
                </c:pt>
                <c:pt idx="338">
                  <c:v>-4486.9062335166473</c:v>
                </c:pt>
                <c:pt idx="339">
                  <c:v>-2688.4767795250368</c:v>
                </c:pt>
                <c:pt idx="340">
                  <c:v>-3525.8974668331207</c:v>
                </c:pt>
                <c:pt idx="341">
                  <c:v>-1911.3051648378828</c:v>
                </c:pt>
                <c:pt idx="342">
                  <c:v>-3292.4333507755077</c:v>
                </c:pt>
                <c:pt idx="343">
                  <c:v>-1843.865539923966</c:v>
                </c:pt>
                <c:pt idx="344">
                  <c:v>-2912.1914351734854</c:v>
                </c:pt>
                <c:pt idx="345">
                  <c:v>-911.64278531644857</c:v>
                </c:pt>
                <c:pt idx="346">
                  <c:v>-1751.9569466882901</c:v>
                </c:pt>
                <c:pt idx="347">
                  <c:v>-2011.5602389567448</c:v>
                </c:pt>
                <c:pt idx="348">
                  <c:v>-1849.4258060223381</c:v>
                </c:pt>
                <c:pt idx="349">
                  <c:v>573204.7686051866</c:v>
                </c:pt>
                <c:pt idx="350">
                  <c:v>21.052064768461612</c:v>
                </c:pt>
                <c:pt idx="351">
                  <c:v>-1684.024245110782</c:v>
                </c:pt>
                <c:pt idx="352">
                  <c:v>219303.12273037259</c:v>
                </c:pt>
                <c:pt idx="353">
                  <c:v>-654.96295535999434</c:v>
                </c:pt>
                <c:pt idx="354">
                  <c:v>-982.2497141169606</c:v>
                </c:pt>
                <c:pt idx="355">
                  <c:v>-765.80220577908563</c:v>
                </c:pt>
                <c:pt idx="356">
                  <c:v>-2011.1958693590491</c:v>
                </c:pt>
                <c:pt idx="357">
                  <c:v>765.92503379064954</c:v>
                </c:pt>
                <c:pt idx="358">
                  <c:v>548.0758349110979</c:v>
                </c:pt>
                <c:pt idx="359">
                  <c:v>206.60995639729649</c:v>
                </c:pt>
                <c:pt idx="360">
                  <c:v>-1070.5440053536529</c:v>
                </c:pt>
                <c:pt idx="361">
                  <c:v>-262686.46377069969</c:v>
                </c:pt>
                <c:pt idx="362">
                  <c:v>-261133.9659140007</c:v>
                </c:pt>
                <c:pt idx="363">
                  <c:v>-261058.02854607708</c:v>
                </c:pt>
                <c:pt idx="364">
                  <c:v>-260798.85986096779</c:v>
                </c:pt>
                <c:pt idx="365">
                  <c:v>-276600.27100894263</c:v>
                </c:pt>
                <c:pt idx="366">
                  <c:v>-20013.180204637516</c:v>
                </c:pt>
                <c:pt idx="367">
                  <c:v>-278968.04916968511</c:v>
                </c:pt>
                <c:pt idx="368">
                  <c:v>-282365.72876124852</c:v>
                </c:pt>
                <c:pt idx="369">
                  <c:v>55857.357947331016</c:v>
                </c:pt>
                <c:pt idx="370">
                  <c:v>1139.2439246054869</c:v>
                </c:pt>
                <c:pt idx="371">
                  <c:v>1196.4277438661852</c:v>
                </c:pt>
                <c:pt idx="372">
                  <c:v>1026.5730540921629</c:v>
                </c:pt>
                <c:pt idx="373">
                  <c:v>4778.3078399279684</c:v>
                </c:pt>
                <c:pt idx="374">
                  <c:v>1184.4647046691341</c:v>
                </c:pt>
                <c:pt idx="375">
                  <c:v>1286.6589341578206</c:v>
                </c:pt>
                <c:pt idx="376">
                  <c:v>860.56719205300431</c:v>
                </c:pt>
                <c:pt idx="377">
                  <c:v>4822.6771881348186</c:v>
                </c:pt>
                <c:pt idx="378">
                  <c:v>1271.282992824234</c:v>
                </c:pt>
                <c:pt idx="379">
                  <c:v>1440.1122016775957</c:v>
                </c:pt>
                <c:pt idx="380">
                  <c:v>809.79190864186864</c:v>
                </c:pt>
                <c:pt idx="381">
                  <c:v>5080.615715103494</c:v>
                </c:pt>
                <c:pt idx="382">
                  <c:v>1361.6993506723888</c:v>
                </c:pt>
                <c:pt idx="383">
                  <c:v>1703.554557807033</c:v>
                </c:pt>
              </c:numCache>
            </c:numRef>
          </c:yVal>
          <c:smooth val="1"/>
        </c:ser>
        <c:axId val="329258880"/>
        <c:axId val="329261056"/>
      </c:scatterChart>
      <c:valAx>
        <c:axId val="329258880"/>
        <c:scaling>
          <c:orientation val="minMax"/>
          <c:max val="43271"/>
          <c:min val="43267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layout/>
        </c:title>
        <c:numFmt formatCode="d/m;@" sourceLinked="0"/>
        <c:tickLblPos val="nextTo"/>
        <c:crossAx val="329261056"/>
        <c:crosses val="autoZero"/>
        <c:crossBetween val="midCat"/>
        <c:majorUnit val="1"/>
      </c:valAx>
      <c:valAx>
        <c:axId val="329261056"/>
        <c:scaling>
          <c:orientation val="minMax"/>
          <c:max val="80000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/>
                  <a:t>Leistung der Batterie in [kW] </a:t>
                </a:r>
              </a:p>
            </c:rich>
          </c:tx>
          <c:layout/>
        </c:title>
        <c:numFmt formatCode="General" sourceLinked="1"/>
        <c:tickLblPos val="nextTo"/>
        <c:crossAx val="329258880"/>
        <c:crosses val="autoZero"/>
        <c:crossBetween val="midCat"/>
        <c:dispUnits>
          <c:builtInUnit val="thousands"/>
        </c:dispUnits>
      </c:valAx>
    </c:plotArea>
    <c:legend>
      <c:legendPos val="r"/>
      <c:layout>
        <c:manualLayout>
          <c:xMode val="edge"/>
          <c:yMode val="edge"/>
          <c:x val="0.69629272273647402"/>
          <c:y val="3.0383856398630876E-3"/>
          <c:w val="0.22529869302496999"/>
          <c:h val="0.23117715113329534"/>
        </c:manualLayout>
      </c:layout>
      <c:spPr>
        <a:solidFill>
          <a:prstClr val="white"/>
        </a:solidFill>
      </c:spPr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27"/>
  <c:chart>
    <c:plotArea>
      <c:layout>
        <c:manualLayout>
          <c:layoutTarget val="inner"/>
          <c:xMode val="edge"/>
          <c:yMode val="edge"/>
          <c:x val="7.3141900289590389E-2"/>
          <c:y val="2.6214934410990754E-2"/>
          <c:w val="0.66025669909518181"/>
          <c:h val="0.83496882166776443"/>
        </c:manualLayout>
      </c:layout>
      <c:scatterChart>
        <c:scatterStyle val="smoothMarker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B$2:$B$865</c:f>
              <c:numCache>
                <c:formatCode>General</c:formatCode>
                <c:ptCount val="86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0.2</c:v>
                </c:pt>
                <c:pt idx="5">
                  <c:v>0.1</c:v>
                </c:pt>
                <c:pt idx="6">
                  <c:v>0.2</c:v>
                </c:pt>
                <c:pt idx="7">
                  <c:v>0.2</c:v>
                </c:pt>
                <c:pt idx="8">
                  <c:v>0.1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1</c:v>
                </c:pt>
                <c:pt idx="15">
                  <c:v>0.1</c:v>
                </c:pt>
                <c:pt idx="16">
                  <c:v>0.2</c:v>
                </c:pt>
                <c:pt idx="17">
                  <c:v>0.1</c:v>
                </c:pt>
                <c:pt idx="18">
                  <c:v>0.1</c:v>
                </c:pt>
                <c:pt idx="19">
                  <c:v>0.1</c:v>
                </c:pt>
                <c:pt idx="20">
                  <c:v>0.2</c:v>
                </c:pt>
                <c:pt idx="21">
                  <c:v>0.2</c:v>
                </c:pt>
                <c:pt idx="22">
                  <c:v>0.1</c:v>
                </c:pt>
                <c:pt idx="23">
                  <c:v>0.2</c:v>
                </c:pt>
                <c:pt idx="24">
                  <c:v>0.1</c:v>
                </c:pt>
                <c:pt idx="25">
                  <c:v>0.1</c:v>
                </c:pt>
                <c:pt idx="26">
                  <c:v>0.1</c:v>
                </c:pt>
                <c:pt idx="27">
                  <c:v>0.1</c:v>
                </c:pt>
                <c:pt idx="28">
                  <c:v>0.1</c:v>
                </c:pt>
                <c:pt idx="29">
                  <c:v>0.2</c:v>
                </c:pt>
                <c:pt idx="30">
                  <c:v>0.2</c:v>
                </c:pt>
                <c:pt idx="31">
                  <c:v>6.9</c:v>
                </c:pt>
                <c:pt idx="32">
                  <c:v>17.100000000000001</c:v>
                </c:pt>
                <c:pt idx="33">
                  <c:v>17</c:v>
                </c:pt>
                <c:pt idx="34">
                  <c:v>17</c:v>
                </c:pt>
                <c:pt idx="35">
                  <c:v>16.600000000000001</c:v>
                </c:pt>
                <c:pt idx="36">
                  <c:v>16.7</c:v>
                </c:pt>
                <c:pt idx="37">
                  <c:v>16.600000000000001</c:v>
                </c:pt>
                <c:pt idx="38">
                  <c:v>17.100000000000001</c:v>
                </c:pt>
                <c:pt idx="39">
                  <c:v>16.600000000000001</c:v>
                </c:pt>
                <c:pt idx="40">
                  <c:v>17.7</c:v>
                </c:pt>
                <c:pt idx="41">
                  <c:v>0</c:v>
                </c:pt>
                <c:pt idx="42">
                  <c:v>0.1</c:v>
                </c:pt>
                <c:pt idx="43">
                  <c:v>0</c:v>
                </c:pt>
                <c:pt idx="44">
                  <c:v>16.7</c:v>
                </c:pt>
                <c:pt idx="45">
                  <c:v>29.7</c:v>
                </c:pt>
                <c:pt idx="46">
                  <c:v>6.5</c:v>
                </c:pt>
                <c:pt idx="47">
                  <c:v>7.1</c:v>
                </c:pt>
                <c:pt idx="48">
                  <c:v>30.1</c:v>
                </c:pt>
                <c:pt idx="49">
                  <c:v>6.5</c:v>
                </c:pt>
                <c:pt idx="50">
                  <c:v>29.9</c:v>
                </c:pt>
                <c:pt idx="51">
                  <c:v>30.2</c:v>
                </c:pt>
                <c:pt idx="52">
                  <c:v>6.5</c:v>
                </c:pt>
                <c:pt idx="53">
                  <c:v>30.2</c:v>
                </c:pt>
                <c:pt idx="54">
                  <c:v>6.2</c:v>
                </c:pt>
                <c:pt idx="55">
                  <c:v>6.4</c:v>
                </c:pt>
                <c:pt idx="56">
                  <c:v>29.9</c:v>
                </c:pt>
                <c:pt idx="57">
                  <c:v>30.3</c:v>
                </c:pt>
                <c:pt idx="58">
                  <c:v>6.4</c:v>
                </c:pt>
                <c:pt idx="59">
                  <c:v>30.2</c:v>
                </c:pt>
                <c:pt idx="60">
                  <c:v>30.3</c:v>
                </c:pt>
                <c:pt idx="61">
                  <c:v>30.4</c:v>
                </c:pt>
                <c:pt idx="62">
                  <c:v>6.8</c:v>
                </c:pt>
                <c:pt idx="63">
                  <c:v>30.1</c:v>
                </c:pt>
                <c:pt idx="64">
                  <c:v>30.5</c:v>
                </c:pt>
                <c:pt idx="65">
                  <c:v>6.7</c:v>
                </c:pt>
                <c:pt idx="66">
                  <c:v>30.2</c:v>
                </c:pt>
                <c:pt idx="67">
                  <c:v>30</c:v>
                </c:pt>
                <c:pt idx="68">
                  <c:v>0.1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6.7</c:v>
                </c:pt>
                <c:pt idx="78">
                  <c:v>29.6</c:v>
                </c:pt>
                <c:pt idx="79">
                  <c:v>30.1</c:v>
                </c:pt>
                <c:pt idx="80">
                  <c:v>7.1</c:v>
                </c:pt>
                <c:pt idx="81">
                  <c:v>6.5</c:v>
                </c:pt>
                <c:pt idx="82">
                  <c:v>29.7</c:v>
                </c:pt>
                <c:pt idx="83">
                  <c:v>7</c:v>
                </c:pt>
                <c:pt idx="84">
                  <c:v>16.5</c:v>
                </c:pt>
                <c:pt idx="85">
                  <c:v>17.2</c:v>
                </c:pt>
                <c:pt idx="86">
                  <c:v>17</c:v>
                </c:pt>
                <c:pt idx="87">
                  <c:v>0</c:v>
                </c:pt>
                <c:pt idx="88">
                  <c:v>0.2</c:v>
                </c:pt>
                <c:pt idx="89">
                  <c:v>0.1</c:v>
                </c:pt>
                <c:pt idx="90">
                  <c:v>0.2</c:v>
                </c:pt>
                <c:pt idx="91">
                  <c:v>0.2</c:v>
                </c:pt>
                <c:pt idx="92">
                  <c:v>0.2</c:v>
                </c:pt>
                <c:pt idx="93">
                  <c:v>0.1</c:v>
                </c:pt>
                <c:pt idx="94">
                  <c:v>0.2</c:v>
                </c:pt>
                <c:pt idx="95">
                  <c:v>0.1</c:v>
                </c:pt>
                <c:pt idx="96">
                  <c:v>0.1</c:v>
                </c:pt>
                <c:pt idx="97">
                  <c:v>0.1</c:v>
                </c:pt>
                <c:pt idx="98">
                  <c:v>0.1</c:v>
                </c:pt>
                <c:pt idx="99">
                  <c:v>0.1</c:v>
                </c:pt>
                <c:pt idx="100">
                  <c:v>0.1</c:v>
                </c:pt>
                <c:pt idx="101">
                  <c:v>0.1</c:v>
                </c:pt>
                <c:pt idx="102">
                  <c:v>0.2</c:v>
                </c:pt>
                <c:pt idx="103">
                  <c:v>0.1</c:v>
                </c:pt>
                <c:pt idx="104">
                  <c:v>0.2</c:v>
                </c:pt>
                <c:pt idx="105">
                  <c:v>0.2</c:v>
                </c:pt>
                <c:pt idx="106">
                  <c:v>0.2</c:v>
                </c:pt>
                <c:pt idx="107">
                  <c:v>0.1</c:v>
                </c:pt>
                <c:pt idx="108">
                  <c:v>0.1</c:v>
                </c:pt>
                <c:pt idx="109">
                  <c:v>0</c:v>
                </c:pt>
                <c:pt idx="110">
                  <c:v>0.2</c:v>
                </c:pt>
                <c:pt idx="111">
                  <c:v>0.2</c:v>
                </c:pt>
                <c:pt idx="112">
                  <c:v>0.2</c:v>
                </c:pt>
                <c:pt idx="113">
                  <c:v>0</c:v>
                </c:pt>
                <c:pt idx="114">
                  <c:v>0.1</c:v>
                </c:pt>
                <c:pt idx="115">
                  <c:v>0.1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.2</c:v>
                </c:pt>
                <c:pt idx="122">
                  <c:v>0.2</c:v>
                </c:pt>
                <c:pt idx="123">
                  <c:v>0.2</c:v>
                </c:pt>
                <c:pt idx="124">
                  <c:v>0.2</c:v>
                </c:pt>
                <c:pt idx="125">
                  <c:v>0</c:v>
                </c:pt>
                <c:pt idx="126">
                  <c:v>0.2</c:v>
                </c:pt>
                <c:pt idx="127">
                  <c:v>13.6</c:v>
                </c:pt>
                <c:pt idx="128">
                  <c:v>12.5</c:v>
                </c:pt>
                <c:pt idx="129">
                  <c:v>9.7000000000000011</c:v>
                </c:pt>
                <c:pt idx="130">
                  <c:v>11.7</c:v>
                </c:pt>
                <c:pt idx="131">
                  <c:v>7.5</c:v>
                </c:pt>
                <c:pt idx="132">
                  <c:v>16.8</c:v>
                </c:pt>
                <c:pt idx="133">
                  <c:v>17.5</c:v>
                </c:pt>
                <c:pt idx="134">
                  <c:v>17.399999999999999</c:v>
                </c:pt>
                <c:pt idx="135">
                  <c:v>17.2</c:v>
                </c:pt>
                <c:pt idx="136">
                  <c:v>16.899999999999999</c:v>
                </c:pt>
                <c:pt idx="137">
                  <c:v>16.7</c:v>
                </c:pt>
                <c:pt idx="138">
                  <c:v>17.3</c:v>
                </c:pt>
                <c:pt idx="139">
                  <c:v>17.399999999999999</c:v>
                </c:pt>
                <c:pt idx="140">
                  <c:v>16.7</c:v>
                </c:pt>
                <c:pt idx="141">
                  <c:v>16.899999999999999</c:v>
                </c:pt>
                <c:pt idx="142">
                  <c:v>17.399999999999999</c:v>
                </c:pt>
                <c:pt idx="143">
                  <c:v>0.1</c:v>
                </c:pt>
                <c:pt idx="144">
                  <c:v>0</c:v>
                </c:pt>
                <c:pt idx="145">
                  <c:v>0</c:v>
                </c:pt>
                <c:pt idx="146">
                  <c:v>16.399999999999999</c:v>
                </c:pt>
                <c:pt idx="147">
                  <c:v>30.2</c:v>
                </c:pt>
                <c:pt idx="148">
                  <c:v>7.1</c:v>
                </c:pt>
                <c:pt idx="149">
                  <c:v>7.2</c:v>
                </c:pt>
                <c:pt idx="150">
                  <c:v>30.2</c:v>
                </c:pt>
                <c:pt idx="151">
                  <c:v>7.3</c:v>
                </c:pt>
                <c:pt idx="152">
                  <c:v>6.7</c:v>
                </c:pt>
                <c:pt idx="153">
                  <c:v>30.3</c:v>
                </c:pt>
                <c:pt idx="154">
                  <c:v>7</c:v>
                </c:pt>
                <c:pt idx="155">
                  <c:v>30.1</c:v>
                </c:pt>
                <c:pt idx="156">
                  <c:v>6.5</c:v>
                </c:pt>
                <c:pt idx="157">
                  <c:v>6.6</c:v>
                </c:pt>
                <c:pt idx="158">
                  <c:v>30.1</c:v>
                </c:pt>
                <c:pt idx="159">
                  <c:v>6.7</c:v>
                </c:pt>
                <c:pt idx="160">
                  <c:v>30.2</c:v>
                </c:pt>
                <c:pt idx="161">
                  <c:v>30</c:v>
                </c:pt>
                <c:pt idx="162">
                  <c:v>6.5</c:v>
                </c:pt>
                <c:pt idx="163">
                  <c:v>3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.1</c:v>
                </c:pt>
                <c:pt idx="173">
                  <c:v>17.100000000000001</c:v>
                </c:pt>
                <c:pt idx="174">
                  <c:v>16.5</c:v>
                </c:pt>
                <c:pt idx="175">
                  <c:v>16.5</c:v>
                </c:pt>
                <c:pt idx="176">
                  <c:v>17.399999999999999</c:v>
                </c:pt>
                <c:pt idx="177">
                  <c:v>17.399999999999999</c:v>
                </c:pt>
                <c:pt idx="178">
                  <c:v>17.5</c:v>
                </c:pt>
                <c:pt idx="179">
                  <c:v>17.899999999999999</c:v>
                </c:pt>
                <c:pt idx="180">
                  <c:v>16.899999999999999</c:v>
                </c:pt>
                <c:pt idx="181">
                  <c:v>16.8</c:v>
                </c:pt>
                <c:pt idx="182">
                  <c:v>17.600000000000001</c:v>
                </c:pt>
                <c:pt idx="183">
                  <c:v>0.2</c:v>
                </c:pt>
                <c:pt idx="184">
                  <c:v>0.2</c:v>
                </c:pt>
                <c:pt idx="185">
                  <c:v>0.2</c:v>
                </c:pt>
                <c:pt idx="186">
                  <c:v>0.2</c:v>
                </c:pt>
                <c:pt idx="187">
                  <c:v>0</c:v>
                </c:pt>
                <c:pt idx="188">
                  <c:v>0.1</c:v>
                </c:pt>
                <c:pt idx="189">
                  <c:v>0.2</c:v>
                </c:pt>
                <c:pt idx="190">
                  <c:v>0.1</c:v>
                </c:pt>
                <c:pt idx="191">
                  <c:v>0.1</c:v>
                </c:pt>
                <c:pt idx="192">
                  <c:v>0.1</c:v>
                </c:pt>
                <c:pt idx="193">
                  <c:v>0.2</c:v>
                </c:pt>
                <c:pt idx="194">
                  <c:v>0.1</c:v>
                </c:pt>
                <c:pt idx="195">
                  <c:v>0.1</c:v>
                </c:pt>
                <c:pt idx="196">
                  <c:v>0.1</c:v>
                </c:pt>
                <c:pt idx="197">
                  <c:v>0.2</c:v>
                </c:pt>
                <c:pt idx="198">
                  <c:v>0.2</c:v>
                </c:pt>
                <c:pt idx="199">
                  <c:v>0</c:v>
                </c:pt>
                <c:pt idx="200">
                  <c:v>0.2</c:v>
                </c:pt>
                <c:pt idx="201">
                  <c:v>0.1</c:v>
                </c:pt>
                <c:pt idx="202">
                  <c:v>0.1</c:v>
                </c:pt>
                <c:pt idx="203">
                  <c:v>0.2</c:v>
                </c:pt>
                <c:pt idx="204">
                  <c:v>0.2</c:v>
                </c:pt>
                <c:pt idx="205">
                  <c:v>0.1</c:v>
                </c:pt>
                <c:pt idx="206">
                  <c:v>0</c:v>
                </c:pt>
                <c:pt idx="207">
                  <c:v>0.1</c:v>
                </c:pt>
                <c:pt idx="208">
                  <c:v>0</c:v>
                </c:pt>
                <c:pt idx="209">
                  <c:v>0.1</c:v>
                </c:pt>
                <c:pt idx="210">
                  <c:v>0</c:v>
                </c:pt>
                <c:pt idx="211">
                  <c:v>0.2</c:v>
                </c:pt>
                <c:pt idx="212">
                  <c:v>0.2</c:v>
                </c:pt>
                <c:pt idx="213">
                  <c:v>0.1</c:v>
                </c:pt>
                <c:pt idx="214">
                  <c:v>0.2</c:v>
                </c:pt>
                <c:pt idx="215">
                  <c:v>0.1</c:v>
                </c:pt>
                <c:pt idx="216">
                  <c:v>0</c:v>
                </c:pt>
                <c:pt idx="217">
                  <c:v>0.1</c:v>
                </c:pt>
                <c:pt idx="218">
                  <c:v>0</c:v>
                </c:pt>
                <c:pt idx="219">
                  <c:v>0.1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11.1</c:v>
                </c:pt>
                <c:pt idx="224">
                  <c:v>10</c:v>
                </c:pt>
                <c:pt idx="225">
                  <c:v>9.6</c:v>
                </c:pt>
                <c:pt idx="226">
                  <c:v>11.8</c:v>
                </c:pt>
                <c:pt idx="227">
                  <c:v>0</c:v>
                </c:pt>
                <c:pt idx="228">
                  <c:v>17.2</c:v>
                </c:pt>
                <c:pt idx="229">
                  <c:v>17.100000000000001</c:v>
                </c:pt>
                <c:pt idx="230">
                  <c:v>17.399999999999999</c:v>
                </c:pt>
                <c:pt idx="231">
                  <c:v>16.7</c:v>
                </c:pt>
                <c:pt idx="232">
                  <c:v>17.600000000000001</c:v>
                </c:pt>
                <c:pt idx="233">
                  <c:v>16.899999999999999</c:v>
                </c:pt>
                <c:pt idx="234">
                  <c:v>17.399999999999999</c:v>
                </c:pt>
                <c:pt idx="235">
                  <c:v>17.5</c:v>
                </c:pt>
                <c:pt idx="236">
                  <c:v>17.5</c:v>
                </c:pt>
                <c:pt idx="237">
                  <c:v>17.5</c:v>
                </c:pt>
                <c:pt idx="238">
                  <c:v>17.3</c:v>
                </c:pt>
                <c:pt idx="239">
                  <c:v>17.399999999999999</c:v>
                </c:pt>
                <c:pt idx="240">
                  <c:v>17.5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30.1</c:v>
                </c:pt>
                <c:pt idx="247">
                  <c:v>6.5</c:v>
                </c:pt>
                <c:pt idx="248">
                  <c:v>6.9</c:v>
                </c:pt>
                <c:pt idx="249">
                  <c:v>6.4</c:v>
                </c:pt>
                <c:pt idx="250">
                  <c:v>25.2</c:v>
                </c:pt>
                <c:pt idx="251">
                  <c:v>7.2</c:v>
                </c:pt>
                <c:pt idx="252">
                  <c:v>7</c:v>
                </c:pt>
                <c:pt idx="253">
                  <c:v>7.2</c:v>
                </c:pt>
                <c:pt idx="254">
                  <c:v>30.1</c:v>
                </c:pt>
                <c:pt idx="255">
                  <c:v>6.6</c:v>
                </c:pt>
                <c:pt idx="256">
                  <c:v>7.1</c:v>
                </c:pt>
                <c:pt idx="257">
                  <c:v>30</c:v>
                </c:pt>
                <c:pt idx="258">
                  <c:v>6.4</c:v>
                </c:pt>
                <c:pt idx="259">
                  <c:v>6.5</c:v>
                </c:pt>
                <c:pt idx="260">
                  <c:v>0.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7.2</c:v>
                </c:pt>
                <c:pt idx="273">
                  <c:v>16.600000000000001</c:v>
                </c:pt>
                <c:pt idx="274">
                  <c:v>17.100000000000001</c:v>
                </c:pt>
                <c:pt idx="275">
                  <c:v>17</c:v>
                </c:pt>
                <c:pt idx="276">
                  <c:v>17.3</c:v>
                </c:pt>
                <c:pt idx="277">
                  <c:v>17.7</c:v>
                </c:pt>
                <c:pt idx="278">
                  <c:v>16.8</c:v>
                </c:pt>
                <c:pt idx="279">
                  <c:v>0.1</c:v>
                </c:pt>
                <c:pt idx="280">
                  <c:v>0.1</c:v>
                </c:pt>
                <c:pt idx="281">
                  <c:v>0.2</c:v>
                </c:pt>
                <c:pt idx="282">
                  <c:v>0.1</c:v>
                </c:pt>
                <c:pt idx="283">
                  <c:v>0.1</c:v>
                </c:pt>
                <c:pt idx="284">
                  <c:v>0.1</c:v>
                </c:pt>
                <c:pt idx="285">
                  <c:v>0.2</c:v>
                </c:pt>
                <c:pt idx="286">
                  <c:v>0.1</c:v>
                </c:pt>
                <c:pt idx="287">
                  <c:v>0</c:v>
                </c:pt>
                <c:pt idx="288">
                  <c:v>0.2</c:v>
                </c:pt>
                <c:pt idx="289">
                  <c:v>0.1</c:v>
                </c:pt>
                <c:pt idx="290">
                  <c:v>0.1</c:v>
                </c:pt>
                <c:pt idx="291">
                  <c:v>0</c:v>
                </c:pt>
                <c:pt idx="292">
                  <c:v>0.2</c:v>
                </c:pt>
                <c:pt idx="293">
                  <c:v>0.2</c:v>
                </c:pt>
                <c:pt idx="294">
                  <c:v>0</c:v>
                </c:pt>
                <c:pt idx="295">
                  <c:v>0.1</c:v>
                </c:pt>
                <c:pt idx="296">
                  <c:v>0.1</c:v>
                </c:pt>
                <c:pt idx="297">
                  <c:v>0.2</c:v>
                </c:pt>
                <c:pt idx="298">
                  <c:v>0.2</c:v>
                </c:pt>
                <c:pt idx="299">
                  <c:v>0.1</c:v>
                </c:pt>
                <c:pt idx="300">
                  <c:v>0.2</c:v>
                </c:pt>
                <c:pt idx="301">
                  <c:v>0.1</c:v>
                </c:pt>
                <c:pt idx="302">
                  <c:v>0.2</c:v>
                </c:pt>
                <c:pt idx="303">
                  <c:v>0.1</c:v>
                </c:pt>
                <c:pt idx="304">
                  <c:v>0.1</c:v>
                </c:pt>
                <c:pt idx="305">
                  <c:v>0</c:v>
                </c:pt>
                <c:pt idx="306">
                  <c:v>0.1</c:v>
                </c:pt>
                <c:pt idx="307">
                  <c:v>0.1</c:v>
                </c:pt>
                <c:pt idx="308">
                  <c:v>0.1</c:v>
                </c:pt>
                <c:pt idx="309">
                  <c:v>0.2</c:v>
                </c:pt>
                <c:pt idx="310">
                  <c:v>0.1</c:v>
                </c:pt>
                <c:pt idx="311">
                  <c:v>0.2</c:v>
                </c:pt>
                <c:pt idx="312">
                  <c:v>0</c:v>
                </c:pt>
                <c:pt idx="313">
                  <c:v>0.1</c:v>
                </c:pt>
                <c:pt idx="314">
                  <c:v>0</c:v>
                </c:pt>
                <c:pt idx="315">
                  <c:v>0.2</c:v>
                </c:pt>
                <c:pt idx="316">
                  <c:v>0.2</c:v>
                </c:pt>
                <c:pt idx="317">
                  <c:v>0.2</c:v>
                </c:pt>
                <c:pt idx="318">
                  <c:v>0.2</c:v>
                </c:pt>
                <c:pt idx="319">
                  <c:v>15.2</c:v>
                </c:pt>
                <c:pt idx="320">
                  <c:v>17.2</c:v>
                </c:pt>
                <c:pt idx="321">
                  <c:v>17.600000000000001</c:v>
                </c:pt>
                <c:pt idx="322">
                  <c:v>16.8</c:v>
                </c:pt>
                <c:pt idx="323">
                  <c:v>16.7</c:v>
                </c:pt>
                <c:pt idx="324">
                  <c:v>17.399999999999999</c:v>
                </c:pt>
                <c:pt idx="325">
                  <c:v>17.2</c:v>
                </c:pt>
                <c:pt idx="326">
                  <c:v>17.600000000000001</c:v>
                </c:pt>
                <c:pt idx="327">
                  <c:v>17.3</c:v>
                </c:pt>
                <c:pt idx="328">
                  <c:v>17.2</c:v>
                </c:pt>
                <c:pt idx="329">
                  <c:v>16.899999999999999</c:v>
                </c:pt>
                <c:pt idx="330">
                  <c:v>17.2</c:v>
                </c:pt>
                <c:pt idx="331">
                  <c:v>16.8</c:v>
                </c:pt>
                <c:pt idx="332">
                  <c:v>17.100000000000001</c:v>
                </c:pt>
                <c:pt idx="333">
                  <c:v>0</c:v>
                </c:pt>
                <c:pt idx="334">
                  <c:v>0</c:v>
                </c:pt>
                <c:pt idx="335">
                  <c:v>29.8</c:v>
                </c:pt>
                <c:pt idx="336">
                  <c:v>7.3</c:v>
                </c:pt>
                <c:pt idx="337">
                  <c:v>7</c:v>
                </c:pt>
                <c:pt idx="338">
                  <c:v>30</c:v>
                </c:pt>
                <c:pt idx="339">
                  <c:v>6.3</c:v>
                </c:pt>
                <c:pt idx="340">
                  <c:v>6.6</c:v>
                </c:pt>
                <c:pt idx="341">
                  <c:v>29.9</c:v>
                </c:pt>
                <c:pt idx="342">
                  <c:v>30.2</c:v>
                </c:pt>
                <c:pt idx="343">
                  <c:v>6.4</c:v>
                </c:pt>
                <c:pt idx="344">
                  <c:v>30.3</c:v>
                </c:pt>
                <c:pt idx="345">
                  <c:v>30.3</c:v>
                </c:pt>
                <c:pt idx="346">
                  <c:v>6.5</c:v>
                </c:pt>
                <c:pt idx="347">
                  <c:v>7</c:v>
                </c:pt>
                <c:pt idx="348">
                  <c:v>30.4</c:v>
                </c:pt>
                <c:pt idx="349">
                  <c:v>30.5</c:v>
                </c:pt>
                <c:pt idx="350">
                  <c:v>6.9</c:v>
                </c:pt>
                <c:pt idx="351">
                  <c:v>30.6</c:v>
                </c:pt>
                <c:pt idx="352">
                  <c:v>30.3</c:v>
                </c:pt>
                <c:pt idx="353">
                  <c:v>7</c:v>
                </c:pt>
                <c:pt idx="354">
                  <c:v>30.4</c:v>
                </c:pt>
                <c:pt idx="355">
                  <c:v>6.5</c:v>
                </c:pt>
                <c:pt idx="356">
                  <c:v>0</c:v>
                </c:pt>
                <c:pt idx="357">
                  <c:v>0.1</c:v>
                </c:pt>
                <c:pt idx="358">
                  <c:v>0</c:v>
                </c:pt>
                <c:pt idx="359">
                  <c:v>0</c:v>
                </c:pt>
                <c:pt idx="360">
                  <c:v>0.1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.1</c:v>
                </c:pt>
                <c:pt idx="365">
                  <c:v>16.7</c:v>
                </c:pt>
                <c:pt idx="366">
                  <c:v>30.2</c:v>
                </c:pt>
                <c:pt idx="367">
                  <c:v>30.2</c:v>
                </c:pt>
                <c:pt idx="368">
                  <c:v>6.5</c:v>
                </c:pt>
                <c:pt idx="369">
                  <c:v>30.2</c:v>
                </c:pt>
                <c:pt idx="370">
                  <c:v>7</c:v>
                </c:pt>
                <c:pt idx="371">
                  <c:v>7.4</c:v>
                </c:pt>
                <c:pt idx="372">
                  <c:v>30</c:v>
                </c:pt>
                <c:pt idx="373">
                  <c:v>6.5</c:v>
                </c:pt>
                <c:pt idx="374">
                  <c:v>6.4</c:v>
                </c:pt>
                <c:pt idx="375">
                  <c:v>0</c:v>
                </c:pt>
                <c:pt idx="376">
                  <c:v>0.1</c:v>
                </c:pt>
                <c:pt idx="377">
                  <c:v>0</c:v>
                </c:pt>
                <c:pt idx="378">
                  <c:v>0</c:v>
                </c:pt>
                <c:pt idx="379">
                  <c:v>0.1</c:v>
                </c:pt>
                <c:pt idx="380">
                  <c:v>0.2</c:v>
                </c:pt>
                <c:pt idx="381">
                  <c:v>0.1</c:v>
                </c:pt>
                <c:pt idx="382">
                  <c:v>0.1</c:v>
                </c:pt>
                <c:pt idx="383">
                  <c:v>0.1</c:v>
                </c:pt>
                <c:pt idx="384">
                  <c:v>0.1</c:v>
                </c:pt>
                <c:pt idx="385">
                  <c:v>0.2</c:v>
                </c:pt>
                <c:pt idx="386">
                  <c:v>0.1</c:v>
                </c:pt>
                <c:pt idx="387">
                  <c:v>0.1</c:v>
                </c:pt>
                <c:pt idx="388">
                  <c:v>0.2</c:v>
                </c:pt>
                <c:pt idx="389">
                  <c:v>0.1</c:v>
                </c:pt>
                <c:pt idx="390">
                  <c:v>0.2</c:v>
                </c:pt>
                <c:pt idx="391">
                  <c:v>0.1</c:v>
                </c:pt>
                <c:pt idx="392">
                  <c:v>0.2</c:v>
                </c:pt>
                <c:pt idx="393">
                  <c:v>0.2</c:v>
                </c:pt>
                <c:pt idx="394">
                  <c:v>0.2</c:v>
                </c:pt>
                <c:pt idx="395">
                  <c:v>0.2</c:v>
                </c:pt>
                <c:pt idx="396">
                  <c:v>0.1</c:v>
                </c:pt>
                <c:pt idx="397">
                  <c:v>0.2</c:v>
                </c:pt>
                <c:pt idx="398">
                  <c:v>0.2</c:v>
                </c:pt>
                <c:pt idx="399">
                  <c:v>0.2</c:v>
                </c:pt>
                <c:pt idx="400">
                  <c:v>0.2</c:v>
                </c:pt>
                <c:pt idx="401">
                  <c:v>0.1</c:v>
                </c:pt>
                <c:pt idx="402">
                  <c:v>0.2</c:v>
                </c:pt>
                <c:pt idx="403">
                  <c:v>0.1</c:v>
                </c:pt>
                <c:pt idx="404">
                  <c:v>0.1</c:v>
                </c:pt>
                <c:pt idx="405">
                  <c:v>0.2</c:v>
                </c:pt>
                <c:pt idx="406">
                  <c:v>0.2</c:v>
                </c:pt>
                <c:pt idx="407">
                  <c:v>0</c:v>
                </c:pt>
                <c:pt idx="408">
                  <c:v>0.2</c:v>
                </c:pt>
                <c:pt idx="409">
                  <c:v>0.2</c:v>
                </c:pt>
                <c:pt idx="410">
                  <c:v>0.1</c:v>
                </c:pt>
                <c:pt idx="411">
                  <c:v>0</c:v>
                </c:pt>
                <c:pt idx="412">
                  <c:v>0</c:v>
                </c:pt>
                <c:pt idx="413">
                  <c:v>0.1</c:v>
                </c:pt>
                <c:pt idx="414">
                  <c:v>0</c:v>
                </c:pt>
                <c:pt idx="415">
                  <c:v>10</c:v>
                </c:pt>
                <c:pt idx="416">
                  <c:v>17.5</c:v>
                </c:pt>
                <c:pt idx="417">
                  <c:v>16.8</c:v>
                </c:pt>
                <c:pt idx="418">
                  <c:v>17.5</c:v>
                </c:pt>
                <c:pt idx="419">
                  <c:v>16.7</c:v>
                </c:pt>
                <c:pt idx="420">
                  <c:v>17.100000000000001</c:v>
                </c:pt>
                <c:pt idx="421">
                  <c:v>17.600000000000001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30.1</c:v>
                </c:pt>
                <c:pt idx="427">
                  <c:v>6.5</c:v>
                </c:pt>
                <c:pt idx="428">
                  <c:v>6.8</c:v>
                </c:pt>
                <c:pt idx="429">
                  <c:v>30.4</c:v>
                </c:pt>
                <c:pt idx="430">
                  <c:v>7</c:v>
                </c:pt>
                <c:pt idx="431">
                  <c:v>6.6</c:v>
                </c:pt>
                <c:pt idx="432">
                  <c:v>30.4</c:v>
                </c:pt>
                <c:pt idx="433">
                  <c:v>6.5</c:v>
                </c:pt>
                <c:pt idx="434">
                  <c:v>30.6</c:v>
                </c:pt>
                <c:pt idx="435">
                  <c:v>6.5</c:v>
                </c:pt>
                <c:pt idx="436">
                  <c:v>7</c:v>
                </c:pt>
                <c:pt idx="437">
                  <c:v>30.6</c:v>
                </c:pt>
                <c:pt idx="438">
                  <c:v>6.9</c:v>
                </c:pt>
                <c:pt idx="439">
                  <c:v>31.1</c:v>
                </c:pt>
                <c:pt idx="440">
                  <c:v>30.9</c:v>
                </c:pt>
                <c:pt idx="441">
                  <c:v>6.5</c:v>
                </c:pt>
                <c:pt idx="442">
                  <c:v>31.1</c:v>
                </c:pt>
                <c:pt idx="443">
                  <c:v>6.9</c:v>
                </c:pt>
                <c:pt idx="444">
                  <c:v>30.9</c:v>
                </c:pt>
                <c:pt idx="445">
                  <c:v>31</c:v>
                </c:pt>
                <c:pt idx="446">
                  <c:v>6.4</c:v>
                </c:pt>
                <c:pt idx="447">
                  <c:v>30.9</c:v>
                </c:pt>
                <c:pt idx="448">
                  <c:v>31</c:v>
                </c:pt>
                <c:pt idx="449">
                  <c:v>6.5</c:v>
                </c:pt>
                <c:pt idx="450">
                  <c:v>31</c:v>
                </c:pt>
                <c:pt idx="451">
                  <c:v>31</c:v>
                </c:pt>
                <c:pt idx="452">
                  <c:v>0.1</c:v>
                </c:pt>
                <c:pt idx="453">
                  <c:v>0.1</c:v>
                </c:pt>
                <c:pt idx="454">
                  <c:v>0</c:v>
                </c:pt>
                <c:pt idx="455">
                  <c:v>0</c:v>
                </c:pt>
                <c:pt idx="456">
                  <c:v>0.1</c:v>
                </c:pt>
                <c:pt idx="457">
                  <c:v>0</c:v>
                </c:pt>
                <c:pt idx="458">
                  <c:v>0.1</c:v>
                </c:pt>
                <c:pt idx="459">
                  <c:v>0</c:v>
                </c:pt>
                <c:pt idx="460">
                  <c:v>0</c:v>
                </c:pt>
                <c:pt idx="461">
                  <c:v>16.3</c:v>
                </c:pt>
                <c:pt idx="462">
                  <c:v>30.5</c:v>
                </c:pt>
                <c:pt idx="463">
                  <c:v>30.5</c:v>
                </c:pt>
                <c:pt idx="464">
                  <c:v>6.4</c:v>
                </c:pt>
                <c:pt idx="465">
                  <c:v>30.2</c:v>
                </c:pt>
                <c:pt idx="466">
                  <c:v>30</c:v>
                </c:pt>
                <c:pt idx="467">
                  <c:v>6.5</c:v>
                </c:pt>
                <c:pt idx="468">
                  <c:v>30</c:v>
                </c:pt>
                <c:pt idx="469">
                  <c:v>6.4</c:v>
                </c:pt>
                <c:pt idx="470">
                  <c:v>7.3</c:v>
                </c:pt>
                <c:pt idx="471">
                  <c:v>0.1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.2</c:v>
                </c:pt>
                <c:pt idx="476">
                  <c:v>0.2</c:v>
                </c:pt>
                <c:pt idx="477">
                  <c:v>0.1</c:v>
                </c:pt>
                <c:pt idx="478">
                  <c:v>0.1</c:v>
                </c:pt>
                <c:pt idx="479">
                  <c:v>0.2</c:v>
                </c:pt>
                <c:pt idx="480">
                  <c:v>0.2</c:v>
                </c:pt>
                <c:pt idx="481">
                  <c:v>0.2</c:v>
                </c:pt>
                <c:pt idx="482">
                  <c:v>0.1</c:v>
                </c:pt>
                <c:pt idx="483">
                  <c:v>0.1</c:v>
                </c:pt>
                <c:pt idx="484">
                  <c:v>0.2</c:v>
                </c:pt>
                <c:pt idx="485">
                  <c:v>0.1</c:v>
                </c:pt>
                <c:pt idx="486">
                  <c:v>0.1</c:v>
                </c:pt>
                <c:pt idx="487">
                  <c:v>0.2</c:v>
                </c:pt>
                <c:pt idx="488">
                  <c:v>0.1</c:v>
                </c:pt>
                <c:pt idx="489">
                  <c:v>0.1</c:v>
                </c:pt>
                <c:pt idx="490">
                  <c:v>0.1</c:v>
                </c:pt>
                <c:pt idx="491">
                  <c:v>0.1</c:v>
                </c:pt>
                <c:pt idx="492">
                  <c:v>0.1</c:v>
                </c:pt>
                <c:pt idx="493">
                  <c:v>0.2</c:v>
                </c:pt>
                <c:pt idx="494">
                  <c:v>0.2</c:v>
                </c:pt>
                <c:pt idx="495">
                  <c:v>0.2</c:v>
                </c:pt>
                <c:pt idx="496">
                  <c:v>0.2</c:v>
                </c:pt>
                <c:pt idx="497">
                  <c:v>0.1</c:v>
                </c:pt>
                <c:pt idx="498">
                  <c:v>0.2</c:v>
                </c:pt>
                <c:pt idx="499">
                  <c:v>0.1</c:v>
                </c:pt>
                <c:pt idx="500">
                  <c:v>0</c:v>
                </c:pt>
                <c:pt idx="501">
                  <c:v>0.2</c:v>
                </c:pt>
                <c:pt idx="502">
                  <c:v>0.1</c:v>
                </c:pt>
                <c:pt idx="503">
                  <c:v>0.1</c:v>
                </c:pt>
                <c:pt idx="504">
                  <c:v>0.1</c:v>
                </c:pt>
                <c:pt idx="505">
                  <c:v>0.2</c:v>
                </c:pt>
                <c:pt idx="506">
                  <c:v>0.1</c:v>
                </c:pt>
                <c:pt idx="507">
                  <c:v>0.1</c:v>
                </c:pt>
                <c:pt idx="508">
                  <c:v>0.2</c:v>
                </c:pt>
                <c:pt idx="509">
                  <c:v>0.2</c:v>
                </c:pt>
                <c:pt idx="510">
                  <c:v>0.1</c:v>
                </c:pt>
                <c:pt idx="511">
                  <c:v>9.5</c:v>
                </c:pt>
                <c:pt idx="512">
                  <c:v>17.100000000000001</c:v>
                </c:pt>
                <c:pt idx="513">
                  <c:v>17.3</c:v>
                </c:pt>
                <c:pt idx="514">
                  <c:v>17.3</c:v>
                </c:pt>
                <c:pt idx="515">
                  <c:v>0.1</c:v>
                </c:pt>
                <c:pt idx="516">
                  <c:v>0.2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16.2</c:v>
                </c:pt>
                <c:pt idx="522">
                  <c:v>29.8</c:v>
                </c:pt>
                <c:pt idx="523">
                  <c:v>6.5</c:v>
                </c:pt>
                <c:pt idx="524">
                  <c:v>6.5</c:v>
                </c:pt>
                <c:pt idx="525">
                  <c:v>29.9</c:v>
                </c:pt>
                <c:pt idx="526">
                  <c:v>7</c:v>
                </c:pt>
                <c:pt idx="527">
                  <c:v>30.1</c:v>
                </c:pt>
                <c:pt idx="528">
                  <c:v>7.2</c:v>
                </c:pt>
                <c:pt idx="529">
                  <c:v>30.4</c:v>
                </c:pt>
                <c:pt idx="530">
                  <c:v>30.1</c:v>
                </c:pt>
                <c:pt idx="531">
                  <c:v>30.2</c:v>
                </c:pt>
                <c:pt idx="532">
                  <c:v>6.5</c:v>
                </c:pt>
                <c:pt idx="533">
                  <c:v>30.2</c:v>
                </c:pt>
                <c:pt idx="534">
                  <c:v>6.5</c:v>
                </c:pt>
                <c:pt idx="535">
                  <c:v>30.1</c:v>
                </c:pt>
                <c:pt idx="536">
                  <c:v>6.4</c:v>
                </c:pt>
                <c:pt idx="537">
                  <c:v>30.3</c:v>
                </c:pt>
                <c:pt idx="538">
                  <c:v>30.2</c:v>
                </c:pt>
                <c:pt idx="539">
                  <c:v>6.8</c:v>
                </c:pt>
                <c:pt idx="540">
                  <c:v>30.3</c:v>
                </c:pt>
                <c:pt idx="541">
                  <c:v>7</c:v>
                </c:pt>
                <c:pt idx="542">
                  <c:v>30.5</c:v>
                </c:pt>
                <c:pt idx="543">
                  <c:v>30.7</c:v>
                </c:pt>
                <c:pt idx="544">
                  <c:v>6.7</c:v>
                </c:pt>
                <c:pt idx="545">
                  <c:v>30.7</c:v>
                </c:pt>
                <c:pt idx="546">
                  <c:v>30.6</c:v>
                </c:pt>
                <c:pt idx="547">
                  <c:v>6.8</c:v>
                </c:pt>
                <c:pt idx="548">
                  <c:v>0.1</c:v>
                </c:pt>
                <c:pt idx="549">
                  <c:v>0</c:v>
                </c:pt>
                <c:pt idx="550">
                  <c:v>0</c:v>
                </c:pt>
                <c:pt idx="551">
                  <c:v>0.1</c:v>
                </c:pt>
                <c:pt idx="552">
                  <c:v>0.1</c:v>
                </c:pt>
                <c:pt idx="553">
                  <c:v>0.1</c:v>
                </c:pt>
                <c:pt idx="554">
                  <c:v>0</c:v>
                </c:pt>
                <c:pt idx="555">
                  <c:v>0.1</c:v>
                </c:pt>
                <c:pt idx="556">
                  <c:v>0</c:v>
                </c:pt>
                <c:pt idx="557">
                  <c:v>16.7</c:v>
                </c:pt>
                <c:pt idx="558">
                  <c:v>30.4</c:v>
                </c:pt>
                <c:pt idx="559">
                  <c:v>30.1</c:v>
                </c:pt>
                <c:pt idx="560">
                  <c:v>30.3</c:v>
                </c:pt>
                <c:pt idx="561">
                  <c:v>6.5</c:v>
                </c:pt>
                <c:pt idx="562">
                  <c:v>30.3</c:v>
                </c:pt>
                <c:pt idx="563">
                  <c:v>6.4</c:v>
                </c:pt>
                <c:pt idx="564">
                  <c:v>7.3</c:v>
                </c:pt>
                <c:pt idx="565">
                  <c:v>29.9</c:v>
                </c:pt>
                <c:pt idx="566">
                  <c:v>7</c:v>
                </c:pt>
                <c:pt idx="567">
                  <c:v>0</c:v>
                </c:pt>
                <c:pt idx="568">
                  <c:v>0.1</c:v>
                </c:pt>
                <c:pt idx="569">
                  <c:v>0.1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.1</c:v>
                </c:pt>
                <c:pt idx="574">
                  <c:v>0.2</c:v>
                </c:pt>
                <c:pt idx="575">
                  <c:v>0.2</c:v>
                </c:pt>
                <c:pt idx="576">
                  <c:v>0.2</c:v>
                </c:pt>
                <c:pt idx="577">
                  <c:v>0.2</c:v>
                </c:pt>
                <c:pt idx="578">
                  <c:v>0.1</c:v>
                </c:pt>
                <c:pt idx="579">
                  <c:v>0.1</c:v>
                </c:pt>
                <c:pt idx="580">
                  <c:v>0.1</c:v>
                </c:pt>
                <c:pt idx="581">
                  <c:v>0.2</c:v>
                </c:pt>
                <c:pt idx="582">
                  <c:v>0</c:v>
                </c:pt>
                <c:pt idx="583">
                  <c:v>0.2</c:v>
                </c:pt>
                <c:pt idx="584">
                  <c:v>0.1</c:v>
                </c:pt>
                <c:pt idx="585">
                  <c:v>0.2</c:v>
                </c:pt>
                <c:pt idx="586">
                  <c:v>0.1</c:v>
                </c:pt>
                <c:pt idx="587">
                  <c:v>0.1</c:v>
                </c:pt>
                <c:pt idx="588">
                  <c:v>0.1</c:v>
                </c:pt>
                <c:pt idx="589">
                  <c:v>0.2</c:v>
                </c:pt>
                <c:pt idx="590">
                  <c:v>0.2</c:v>
                </c:pt>
                <c:pt idx="591">
                  <c:v>0.2</c:v>
                </c:pt>
                <c:pt idx="592">
                  <c:v>0.2</c:v>
                </c:pt>
                <c:pt idx="593">
                  <c:v>0.1</c:v>
                </c:pt>
                <c:pt idx="594">
                  <c:v>0.1</c:v>
                </c:pt>
                <c:pt idx="595">
                  <c:v>0.2</c:v>
                </c:pt>
                <c:pt idx="596">
                  <c:v>0.1</c:v>
                </c:pt>
                <c:pt idx="597">
                  <c:v>0.2</c:v>
                </c:pt>
                <c:pt idx="598">
                  <c:v>0.1</c:v>
                </c:pt>
                <c:pt idx="599">
                  <c:v>0.1</c:v>
                </c:pt>
                <c:pt idx="600">
                  <c:v>0.2</c:v>
                </c:pt>
                <c:pt idx="601">
                  <c:v>0.2</c:v>
                </c:pt>
                <c:pt idx="602">
                  <c:v>0.1</c:v>
                </c:pt>
                <c:pt idx="603">
                  <c:v>0.1</c:v>
                </c:pt>
                <c:pt idx="604">
                  <c:v>0.1</c:v>
                </c:pt>
                <c:pt idx="605">
                  <c:v>0.2</c:v>
                </c:pt>
                <c:pt idx="606">
                  <c:v>0.2</c:v>
                </c:pt>
                <c:pt idx="607">
                  <c:v>0.1</c:v>
                </c:pt>
                <c:pt idx="608">
                  <c:v>0.2</c:v>
                </c:pt>
                <c:pt idx="609">
                  <c:v>0.2</c:v>
                </c:pt>
                <c:pt idx="610">
                  <c:v>0.2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.1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16.100000000000001</c:v>
                </c:pt>
                <c:pt idx="624">
                  <c:v>30.3</c:v>
                </c:pt>
                <c:pt idx="625">
                  <c:v>6.7</c:v>
                </c:pt>
                <c:pt idx="626">
                  <c:v>7.2</c:v>
                </c:pt>
                <c:pt idx="627">
                  <c:v>30.5</c:v>
                </c:pt>
                <c:pt idx="628">
                  <c:v>6.6</c:v>
                </c:pt>
                <c:pt idx="629">
                  <c:v>30.6</c:v>
                </c:pt>
                <c:pt idx="630">
                  <c:v>30.5</c:v>
                </c:pt>
                <c:pt idx="631">
                  <c:v>6.4</c:v>
                </c:pt>
                <c:pt idx="632">
                  <c:v>30.5</c:v>
                </c:pt>
                <c:pt idx="633">
                  <c:v>6.7</c:v>
                </c:pt>
                <c:pt idx="634">
                  <c:v>30.7</c:v>
                </c:pt>
                <c:pt idx="635">
                  <c:v>30.7</c:v>
                </c:pt>
                <c:pt idx="636">
                  <c:v>6.7</c:v>
                </c:pt>
                <c:pt idx="637">
                  <c:v>30.6</c:v>
                </c:pt>
                <c:pt idx="638">
                  <c:v>30.4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.1</c:v>
                </c:pt>
                <c:pt idx="644">
                  <c:v>0.1</c:v>
                </c:pt>
                <c:pt idx="645">
                  <c:v>0</c:v>
                </c:pt>
                <c:pt idx="646">
                  <c:v>0</c:v>
                </c:pt>
                <c:pt idx="647">
                  <c:v>0.1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.1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.1</c:v>
                </c:pt>
                <c:pt idx="661">
                  <c:v>0</c:v>
                </c:pt>
                <c:pt idx="662">
                  <c:v>0</c:v>
                </c:pt>
                <c:pt idx="663">
                  <c:v>0.1</c:v>
                </c:pt>
                <c:pt idx="664">
                  <c:v>0</c:v>
                </c:pt>
                <c:pt idx="665">
                  <c:v>0.1</c:v>
                </c:pt>
                <c:pt idx="666">
                  <c:v>0</c:v>
                </c:pt>
                <c:pt idx="667">
                  <c:v>0.1</c:v>
                </c:pt>
                <c:pt idx="668">
                  <c:v>0.2</c:v>
                </c:pt>
                <c:pt idx="669">
                  <c:v>0.1</c:v>
                </c:pt>
                <c:pt idx="670">
                  <c:v>0.2</c:v>
                </c:pt>
                <c:pt idx="671">
                  <c:v>0.1</c:v>
                </c:pt>
                <c:pt idx="672">
                  <c:v>0.1</c:v>
                </c:pt>
                <c:pt idx="673">
                  <c:v>0.2</c:v>
                </c:pt>
                <c:pt idx="674">
                  <c:v>0.2</c:v>
                </c:pt>
                <c:pt idx="675">
                  <c:v>0.1</c:v>
                </c:pt>
                <c:pt idx="676">
                  <c:v>0.1</c:v>
                </c:pt>
                <c:pt idx="677">
                  <c:v>0.1</c:v>
                </c:pt>
                <c:pt idx="678">
                  <c:v>0.1</c:v>
                </c:pt>
                <c:pt idx="679">
                  <c:v>0.1</c:v>
                </c:pt>
                <c:pt idx="680">
                  <c:v>0.1</c:v>
                </c:pt>
                <c:pt idx="681">
                  <c:v>0.2</c:v>
                </c:pt>
                <c:pt idx="682">
                  <c:v>0.2</c:v>
                </c:pt>
                <c:pt idx="683">
                  <c:v>0.2</c:v>
                </c:pt>
                <c:pt idx="684">
                  <c:v>0.1</c:v>
                </c:pt>
                <c:pt idx="685">
                  <c:v>0.2</c:v>
                </c:pt>
                <c:pt idx="686">
                  <c:v>0.1</c:v>
                </c:pt>
                <c:pt idx="687">
                  <c:v>0</c:v>
                </c:pt>
                <c:pt idx="688">
                  <c:v>0.1</c:v>
                </c:pt>
                <c:pt idx="689">
                  <c:v>0.2</c:v>
                </c:pt>
                <c:pt idx="690">
                  <c:v>0.2</c:v>
                </c:pt>
                <c:pt idx="691">
                  <c:v>0</c:v>
                </c:pt>
                <c:pt idx="692">
                  <c:v>0</c:v>
                </c:pt>
                <c:pt idx="693">
                  <c:v>0.2</c:v>
                </c:pt>
                <c:pt idx="694">
                  <c:v>0</c:v>
                </c:pt>
                <c:pt idx="695">
                  <c:v>0</c:v>
                </c:pt>
                <c:pt idx="696">
                  <c:v>0.1</c:v>
                </c:pt>
                <c:pt idx="697">
                  <c:v>0.2</c:v>
                </c:pt>
                <c:pt idx="698">
                  <c:v>0.2</c:v>
                </c:pt>
                <c:pt idx="699">
                  <c:v>0.2</c:v>
                </c:pt>
                <c:pt idx="700">
                  <c:v>0.2</c:v>
                </c:pt>
                <c:pt idx="701">
                  <c:v>0</c:v>
                </c:pt>
                <c:pt idx="702">
                  <c:v>0</c:v>
                </c:pt>
                <c:pt idx="703">
                  <c:v>8.7000000000000011</c:v>
                </c:pt>
                <c:pt idx="704">
                  <c:v>11.8</c:v>
                </c:pt>
                <c:pt idx="705">
                  <c:v>14.8</c:v>
                </c:pt>
                <c:pt idx="706">
                  <c:v>17</c:v>
                </c:pt>
                <c:pt idx="707">
                  <c:v>17.399999999999999</c:v>
                </c:pt>
                <c:pt idx="708">
                  <c:v>0.2</c:v>
                </c:pt>
                <c:pt idx="709">
                  <c:v>0.1</c:v>
                </c:pt>
                <c:pt idx="710">
                  <c:v>0.2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16.2</c:v>
                </c:pt>
                <c:pt idx="722">
                  <c:v>30.9</c:v>
                </c:pt>
                <c:pt idx="723">
                  <c:v>6.6</c:v>
                </c:pt>
                <c:pt idx="724">
                  <c:v>30.8</c:v>
                </c:pt>
                <c:pt idx="725">
                  <c:v>6.9</c:v>
                </c:pt>
                <c:pt idx="726">
                  <c:v>30.8</c:v>
                </c:pt>
                <c:pt idx="727">
                  <c:v>31.1</c:v>
                </c:pt>
                <c:pt idx="728">
                  <c:v>6.5</c:v>
                </c:pt>
                <c:pt idx="729">
                  <c:v>30.8</c:v>
                </c:pt>
                <c:pt idx="730">
                  <c:v>6.6</c:v>
                </c:pt>
                <c:pt idx="731">
                  <c:v>30.8</c:v>
                </c:pt>
                <c:pt idx="732">
                  <c:v>30.8</c:v>
                </c:pt>
                <c:pt idx="733">
                  <c:v>7.1</c:v>
                </c:pt>
                <c:pt idx="734">
                  <c:v>31.2</c:v>
                </c:pt>
                <c:pt idx="735">
                  <c:v>6.6</c:v>
                </c:pt>
                <c:pt idx="736">
                  <c:v>31.1</c:v>
                </c:pt>
                <c:pt idx="737">
                  <c:v>31.2</c:v>
                </c:pt>
                <c:pt idx="738">
                  <c:v>6.6</c:v>
                </c:pt>
                <c:pt idx="739">
                  <c:v>30.7</c:v>
                </c:pt>
                <c:pt idx="740">
                  <c:v>0.1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.1</c:v>
                </c:pt>
                <c:pt idx="748">
                  <c:v>0</c:v>
                </c:pt>
                <c:pt idx="749">
                  <c:v>16.2</c:v>
                </c:pt>
                <c:pt idx="750">
                  <c:v>30.3</c:v>
                </c:pt>
                <c:pt idx="751">
                  <c:v>30.2</c:v>
                </c:pt>
                <c:pt idx="752">
                  <c:v>6.5</c:v>
                </c:pt>
                <c:pt idx="753">
                  <c:v>30.1</c:v>
                </c:pt>
                <c:pt idx="754">
                  <c:v>6.3</c:v>
                </c:pt>
                <c:pt idx="755">
                  <c:v>6.4</c:v>
                </c:pt>
                <c:pt idx="756">
                  <c:v>17.399999999999999</c:v>
                </c:pt>
                <c:pt idx="757">
                  <c:v>16.600000000000001</c:v>
                </c:pt>
                <c:pt idx="758">
                  <c:v>17.399999999999999</c:v>
                </c:pt>
                <c:pt idx="759">
                  <c:v>0.2</c:v>
                </c:pt>
                <c:pt idx="760">
                  <c:v>0.1</c:v>
                </c:pt>
                <c:pt idx="761">
                  <c:v>0.2</c:v>
                </c:pt>
                <c:pt idx="762">
                  <c:v>0.1</c:v>
                </c:pt>
                <c:pt idx="763">
                  <c:v>0.2</c:v>
                </c:pt>
                <c:pt idx="764">
                  <c:v>0.1</c:v>
                </c:pt>
                <c:pt idx="765">
                  <c:v>0.1</c:v>
                </c:pt>
                <c:pt idx="766">
                  <c:v>0.2</c:v>
                </c:pt>
                <c:pt idx="767">
                  <c:v>0.1</c:v>
                </c:pt>
                <c:pt idx="768">
                  <c:v>0.2</c:v>
                </c:pt>
                <c:pt idx="769">
                  <c:v>0.2</c:v>
                </c:pt>
                <c:pt idx="770">
                  <c:v>0.2</c:v>
                </c:pt>
                <c:pt idx="771">
                  <c:v>0.2</c:v>
                </c:pt>
                <c:pt idx="772">
                  <c:v>0.1</c:v>
                </c:pt>
                <c:pt idx="773">
                  <c:v>0.1</c:v>
                </c:pt>
                <c:pt idx="774">
                  <c:v>0.2</c:v>
                </c:pt>
                <c:pt idx="775">
                  <c:v>0.2</c:v>
                </c:pt>
                <c:pt idx="776">
                  <c:v>0.2</c:v>
                </c:pt>
                <c:pt idx="777">
                  <c:v>0.2</c:v>
                </c:pt>
                <c:pt idx="778">
                  <c:v>0.1</c:v>
                </c:pt>
                <c:pt idx="779">
                  <c:v>0.2</c:v>
                </c:pt>
                <c:pt idx="780">
                  <c:v>0.2</c:v>
                </c:pt>
                <c:pt idx="781">
                  <c:v>0.1</c:v>
                </c:pt>
                <c:pt idx="782">
                  <c:v>0.2</c:v>
                </c:pt>
                <c:pt idx="783">
                  <c:v>0.2</c:v>
                </c:pt>
                <c:pt idx="784">
                  <c:v>0.2</c:v>
                </c:pt>
                <c:pt idx="785">
                  <c:v>0.2</c:v>
                </c:pt>
                <c:pt idx="786">
                  <c:v>0</c:v>
                </c:pt>
                <c:pt idx="787">
                  <c:v>0.2</c:v>
                </c:pt>
                <c:pt idx="788">
                  <c:v>0.2</c:v>
                </c:pt>
                <c:pt idx="789">
                  <c:v>0.1</c:v>
                </c:pt>
                <c:pt idx="790">
                  <c:v>0</c:v>
                </c:pt>
                <c:pt idx="791">
                  <c:v>0.1</c:v>
                </c:pt>
                <c:pt idx="792">
                  <c:v>0</c:v>
                </c:pt>
                <c:pt idx="793">
                  <c:v>0.2</c:v>
                </c:pt>
                <c:pt idx="794">
                  <c:v>0.1</c:v>
                </c:pt>
                <c:pt idx="795">
                  <c:v>0.1</c:v>
                </c:pt>
                <c:pt idx="796">
                  <c:v>0.2</c:v>
                </c:pt>
                <c:pt idx="797">
                  <c:v>0</c:v>
                </c:pt>
                <c:pt idx="798">
                  <c:v>0</c:v>
                </c:pt>
                <c:pt idx="799">
                  <c:v>13.3</c:v>
                </c:pt>
                <c:pt idx="800">
                  <c:v>15.2</c:v>
                </c:pt>
                <c:pt idx="801">
                  <c:v>15.4</c:v>
                </c:pt>
                <c:pt idx="802">
                  <c:v>17.399999999999999</c:v>
                </c:pt>
                <c:pt idx="803">
                  <c:v>16.8</c:v>
                </c:pt>
                <c:pt idx="804">
                  <c:v>16.600000000000001</c:v>
                </c:pt>
                <c:pt idx="805">
                  <c:v>17.600000000000001</c:v>
                </c:pt>
                <c:pt idx="806">
                  <c:v>17</c:v>
                </c:pt>
                <c:pt idx="807">
                  <c:v>16.7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16.600000000000001</c:v>
                </c:pt>
                <c:pt idx="813">
                  <c:v>30.1</c:v>
                </c:pt>
                <c:pt idx="814">
                  <c:v>6.4</c:v>
                </c:pt>
                <c:pt idx="815">
                  <c:v>6.5</c:v>
                </c:pt>
                <c:pt idx="816">
                  <c:v>30.6</c:v>
                </c:pt>
                <c:pt idx="817">
                  <c:v>30.6</c:v>
                </c:pt>
                <c:pt idx="818">
                  <c:v>6.6</c:v>
                </c:pt>
                <c:pt idx="819">
                  <c:v>30.6</c:v>
                </c:pt>
                <c:pt idx="820">
                  <c:v>30.4</c:v>
                </c:pt>
                <c:pt idx="821">
                  <c:v>6.5</c:v>
                </c:pt>
                <c:pt idx="822">
                  <c:v>30.7</c:v>
                </c:pt>
                <c:pt idx="823">
                  <c:v>6.5</c:v>
                </c:pt>
                <c:pt idx="824">
                  <c:v>30.6</c:v>
                </c:pt>
                <c:pt idx="825">
                  <c:v>30.6</c:v>
                </c:pt>
                <c:pt idx="826">
                  <c:v>6.8</c:v>
                </c:pt>
                <c:pt idx="827">
                  <c:v>31.1</c:v>
                </c:pt>
                <c:pt idx="828">
                  <c:v>30.9</c:v>
                </c:pt>
                <c:pt idx="829">
                  <c:v>30.8</c:v>
                </c:pt>
                <c:pt idx="830">
                  <c:v>6.5</c:v>
                </c:pt>
                <c:pt idx="831">
                  <c:v>30.8</c:v>
                </c:pt>
                <c:pt idx="832">
                  <c:v>31</c:v>
                </c:pt>
                <c:pt idx="833">
                  <c:v>6.6</c:v>
                </c:pt>
                <c:pt idx="834">
                  <c:v>31.2</c:v>
                </c:pt>
                <c:pt idx="835">
                  <c:v>31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16.100000000000001</c:v>
                </c:pt>
                <c:pt idx="846">
                  <c:v>29.9</c:v>
                </c:pt>
                <c:pt idx="847">
                  <c:v>30.1</c:v>
                </c:pt>
                <c:pt idx="848">
                  <c:v>6.4</c:v>
                </c:pt>
                <c:pt idx="849">
                  <c:v>7.3</c:v>
                </c:pt>
                <c:pt idx="850">
                  <c:v>29.8</c:v>
                </c:pt>
                <c:pt idx="851">
                  <c:v>7.3</c:v>
                </c:pt>
                <c:pt idx="852">
                  <c:v>6.3</c:v>
                </c:pt>
                <c:pt idx="853">
                  <c:v>16.5</c:v>
                </c:pt>
                <c:pt idx="854">
                  <c:v>17.100000000000001</c:v>
                </c:pt>
                <c:pt idx="855">
                  <c:v>0</c:v>
                </c:pt>
                <c:pt idx="856">
                  <c:v>0.1</c:v>
                </c:pt>
                <c:pt idx="857">
                  <c:v>0.2</c:v>
                </c:pt>
                <c:pt idx="858">
                  <c:v>0.2</c:v>
                </c:pt>
                <c:pt idx="859">
                  <c:v>0.2</c:v>
                </c:pt>
                <c:pt idx="860">
                  <c:v>0.1</c:v>
                </c:pt>
                <c:pt idx="861">
                  <c:v>0.1</c:v>
                </c:pt>
                <c:pt idx="862">
                  <c:v>0.2</c:v>
                </c:pt>
                <c:pt idx="863">
                  <c:v>0.2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C$2:$C$865</c:f>
              <c:numCache>
                <c:formatCode>General</c:formatCode>
                <c:ptCount val="864"/>
                <c:pt idx="0">
                  <c:v>-1.2323127865172741</c:v>
                </c:pt>
                <c:pt idx="1">
                  <c:v>-1.1829725346993045</c:v>
                </c:pt>
                <c:pt idx="2">
                  <c:v>-0.95786989369292963</c:v>
                </c:pt>
                <c:pt idx="3">
                  <c:v>-0.65288611156269505</c:v>
                </c:pt>
                <c:pt idx="4">
                  <c:v>-0.6182683214255813</c:v>
                </c:pt>
                <c:pt idx="5">
                  <c:v>-0.50214247766001663</c:v>
                </c:pt>
                <c:pt idx="6">
                  <c:v>-0.4366219326660839</c:v>
                </c:pt>
                <c:pt idx="7">
                  <c:v>-0.42652539930826372</c:v>
                </c:pt>
                <c:pt idx="8">
                  <c:v>-0.34004077291350582</c:v>
                </c:pt>
                <c:pt idx="9">
                  <c:v>-0.36100485431432788</c:v>
                </c:pt>
                <c:pt idx="10">
                  <c:v>-0.1013615797904048</c:v>
                </c:pt>
                <c:pt idx="11">
                  <c:v>-9.9426130604687343E-2</c:v>
                </c:pt>
                <c:pt idx="12">
                  <c:v>3.9207069759615316E-3</c:v>
                </c:pt>
                <c:pt idx="13">
                  <c:v>5.8561561616790637E-3</c:v>
                </c:pt>
                <c:pt idx="14">
                  <c:v>0.11113844292804552</c:v>
                </c:pt>
                <c:pt idx="15">
                  <c:v>0.11210616752090452</c:v>
                </c:pt>
                <c:pt idx="16">
                  <c:v>0.21642072969440801</c:v>
                </c:pt>
                <c:pt idx="17">
                  <c:v>0.21738845428726672</c:v>
                </c:pt>
                <c:pt idx="18">
                  <c:v>0.35882284620134841</c:v>
                </c:pt>
                <c:pt idx="19">
                  <c:v>0.36401093276212387</c:v>
                </c:pt>
                <c:pt idx="20">
                  <c:v>0.36087078736016359</c:v>
                </c:pt>
                <c:pt idx="21">
                  <c:v>0.42347995919661391</c:v>
                </c:pt>
                <c:pt idx="22">
                  <c:v>0.42033981379465407</c:v>
                </c:pt>
                <c:pt idx="23">
                  <c:v>0.52348068196174935</c:v>
                </c:pt>
                <c:pt idx="24">
                  <c:v>0.52034053655979062</c:v>
                </c:pt>
                <c:pt idx="25">
                  <c:v>0.52034053655979062</c:v>
                </c:pt>
                <c:pt idx="26">
                  <c:v>0.57607508662470475</c:v>
                </c:pt>
                <c:pt idx="27">
                  <c:v>0.5792152320266627</c:v>
                </c:pt>
                <c:pt idx="28">
                  <c:v>0.58235537742862353</c:v>
                </c:pt>
                <c:pt idx="29">
                  <c:v>0.58972787247569003</c:v>
                </c:pt>
                <c:pt idx="30">
                  <c:v>0.56284896199602852</c:v>
                </c:pt>
                <c:pt idx="31">
                  <c:v>14.319887212520324</c:v>
                </c:pt>
                <c:pt idx="32">
                  <c:v>13.945629105714914</c:v>
                </c:pt>
                <c:pt idx="33">
                  <c:v>14.047008888819811</c:v>
                </c:pt>
                <c:pt idx="34">
                  <c:v>13.366307303418322</c:v>
                </c:pt>
                <c:pt idx="35">
                  <c:v>13.108928678364423</c:v>
                </c:pt>
                <c:pt idx="36">
                  <c:v>12.05763375082442</c:v>
                </c:pt>
                <c:pt idx="37">
                  <c:v>11.22093285011603</c:v>
                </c:pt>
                <c:pt idx="38">
                  <c:v>9.5677862833917047</c:v>
                </c:pt>
                <c:pt idx="39">
                  <c:v>10.586316615569272</c:v>
                </c:pt>
                <c:pt idx="40">
                  <c:v>8.0122513779300029</c:v>
                </c:pt>
                <c:pt idx="41">
                  <c:v>5.5110574011366529</c:v>
                </c:pt>
                <c:pt idx="42">
                  <c:v>4.5382503066899496</c:v>
                </c:pt>
                <c:pt idx="43">
                  <c:v>3.9961743603699449</c:v>
                </c:pt>
                <c:pt idx="44">
                  <c:v>3.1432864559869507</c:v>
                </c:pt>
                <c:pt idx="45">
                  <c:v>27.88492445515309</c:v>
                </c:pt>
                <c:pt idx="46">
                  <c:v>6.6547865949572866</c:v>
                </c:pt>
                <c:pt idx="47">
                  <c:v>6.8461104095767755</c:v>
                </c:pt>
                <c:pt idx="48">
                  <c:v>26.855785798071039</c:v>
                </c:pt>
                <c:pt idx="49">
                  <c:v>7.1301562817379445</c:v>
                </c:pt>
                <c:pt idx="50">
                  <c:v>26.437457271588837</c:v>
                </c:pt>
                <c:pt idx="51">
                  <c:v>26.730639607006307</c:v>
                </c:pt>
                <c:pt idx="52">
                  <c:v>7.3052993437937834</c:v>
                </c:pt>
                <c:pt idx="53">
                  <c:v>27.3559264730495</c:v>
                </c:pt>
                <c:pt idx="54">
                  <c:v>13.500056451162752</c:v>
                </c:pt>
                <c:pt idx="55">
                  <c:v>4.9664135557293916</c:v>
                </c:pt>
                <c:pt idx="56">
                  <c:v>28.163630055127204</c:v>
                </c:pt>
                <c:pt idx="57">
                  <c:v>24.960092834909499</c:v>
                </c:pt>
                <c:pt idx="58">
                  <c:v>7.7513559034026311</c:v>
                </c:pt>
                <c:pt idx="59">
                  <c:v>28.950167118708301</c:v>
                </c:pt>
                <c:pt idx="60">
                  <c:v>29.155607618336621</c:v>
                </c:pt>
                <c:pt idx="61">
                  <c:v>28.021787850628659</c:v>
                </c:pt>
                <c:pt idx="62">
                  <c:v>7.4813355082002575</c:v>
                </c:pt>
                <c:pt idx="63">
                  <c:v>28.798098834043167</c:v>
                </c:pt>
                <c:pt idx="64">
                  <c:v>29.155607618336621</c:v>
                </c:pt>
                <c:pt idx="65">
                  <c:v>7.5352815921250942</c:v>
                </c:pt>
                <c:pt idx="66">
                  <c:v>28.43668869038747</c:v>
                </c:pt>
                <c:pt idx="67">
                  <c:v>26.863673478427934</c:v>
                </c:pt>
                <c:pt idx="68">
                  <c:v>2.2293272348982738</c:v>
                </c:pt>
                <c:pt idx="69">
                  <c:v>1.3806451137726909</c:v>
                </c:pt>
                <c:pt idx="70">
                  <c:v>0.886804905249447</c:v>
                </c:pt>
                <c:pt idx="71">
                  <c:v>0.36254765481462031</c:v>
                </c:pt>
                <c:pt idx="72">
                  <c:v>-0.20020164378554331</c:v>
                </c:pt>
                <c:pt idx="73">
                  <c:v>-0.45439553656695503</c:v>
                </c:pt>
                <c:pt idx="74">
                  <c:v>-0.33650232461310692</c:v>
                </c:pt>
                <c:pt idx="75">
                  <c:v>-0.44080934283225681</c:v>
                </c:pt>
                <c:pt idx="76">
                  <c:v>-0.44080934283225681</c:v>
                </c:pt>
                <c:pt idx="77">
                  <c:v>8.9366726018162534</c:v>
                </c:pt>
                <c:pt idx="78">
                  <c:v>28.837632912123915</c:v>
                </c:pt>
                <c:pt idx="79">
                  <c:v>26.885343742984691</c:v>
                </c:pt>
                <c:pt idx="80">
                  <c:v>8.8819881426399032</c:v>
                </c:pt>
                <c:pt idx="81">
                  <c:v>10.583933700103994</c:v>
                </c:pt>
                <c:pt idx="82">
                  <c:v>26.99435768090655</c:v>
                </c:pt>
                <c:pt idx="83">
                  <c:v>5.8757653625556916</c:v>
                </c:pt>
                <c:pt idx="84">
                  <c:v>14.832573142552928</c:v>
                </c:pt>
                <c:pt idx="85">
                  <c:v>15.593351465117268</c:v>
                </c:pt>
                <c:pt idx="86">
                  <c:v>14.746311942443128</c:v>
                </c:pt>
                <c:pt idx="87">
                  <c:v>-0.43376182091789101</c:v>
                </c:pt>
                <c:pt idx="88">
                  <c:v>-0.51298768689707586</c:v>
                </c:pt>
                <c:pt idx="89">
                  <c:v>-1.091330636035279</c:v>
                </c:pt>
                <c:pt idx="90">
                  <c:v>-1.4047944141993094</c:v>
                </c:pt>
                <c:pt idx="91">
                  <c:v>-1.6416655504278939</c:v>
                </c:pt>
                <c:pt idx="92">
                  <c:v>-1.5542416922210538</c:v>
                </c:pt>
                <c:pt idx="93">
                  <c:v>-1.4583614978579853</c:v>
                </c:pt>
                <c:pt idx="94">
                  <c:v>-1.3087543691407102</c:v>
                </c:pt>
                <c:pt idx="95">
                  <c:v>-1.071703538202077</c:v>
                </c:pt>
                <c:pt idx="96">
                  <c:v>-0.90539830289892587</c:v>
                </c:pt>
                <c:pt idx="97">
                  <c:v>-0.80116905524292259</c:v>
                </c:pt>
                <c:pt idx="98">
                  <c:v>-0.46152427961925857</c:v>
                </c:pt>
                <c:pt idx="99">
                  <c:v>-0.33176449101162048</c:v>
                </c:pt>
                <c:pt idx="100">
                  <c:v>-0.33701282592751097</c:v>
                </c:pt>
                <c:pt idx="101">
                  <c:v>-5.1374433092842814E-2</c:v>
                </c:pt>
                <c:pt idx="102">
                  <c:v>-9.1113274842410649E-2</c:v>
                </c:pt>
                <c:pt idx="103">
                  <c:v>6.4337564819604565E-2</c:v>
                </c:pt>
                <c:pt idx="104">
                  <c:v>0.22513574733882569</c:v>
                </c:pt>
                <c:pt idx="105">
                  <c:v>0.34481171952572681</c:v>
                </c:pt>
                <c:pt idx="106">
                  <c:v>0.43955632598135785</c:v>
                </c:pt>
                <c:pt idx="107">
                  <c:v>0.46486979332545497</c:v>
                </c:pt>
                <c:pt idx="108">
                  <c:v>0.53191601044434611</c:v>
                </c:pt>
                <c:pt idx="109">
                  <c:v>0.59844389107951423</c:v>
                </c:pt>
                <c:pt idx="110">
                  <c:v>0.66520928552713554</c:v>
                </c:pt>
                <c:pt idx="111">
                  <c:v>0.6899891788300363</c:v>
                </c:pt>
                <c:pt idx="112">
                  <c:v>0.75345375235409573</c:v>
                </c:pt>
                <c:pt idx="113">
                  <c:v>0.75345375235409573</c:v>
                </c:pt>
                <c:pt idx="114">
                  <c:v>0.8531671557257684</c:v>
                </c:pt>
                <c:pt idx="115">
                  <c:v>0.91234898799296227</c:v>
                </c:pt>
                <c:pt idx="116">
                  <c:v>0.91043853385267737</c:v>
                </c:pt>
                <c:pt idx="117">
                  <c:v>0.97522900807629831</c:v>
                </c:pt>
                <c:pt idx="118">
                  <c:v>1.0794692872584801</c:v>
                </c:pt>
                <c:pt idx="119">
                  <c:v>1.077558833118196</c:v>
                </c:pt>
                <c:pt idx="120">
                  <c:v>1.1233723972558638</c:v>
                </c:pt>
                <c:pt idx="121">
                  <c:v>1.1882855919439128</c:v>
                </c:pt>
                <c:pt idx="122">
                  <c:v>1.252320948944855</c:v>
                </c:pt>
                <c:pt idx="123">
                  <c:v>1.3377975652195151</c:v>
                </c:pt>
                <c:pt idx="124">
                  <c:v>1.332930873203664</c:v>
                </c:pt>
                <c:pt idx="125">
                  <c:v>1.2813067276943741</c:v>
                </c:pt>
                <c:pt idx="126">
                  <c:v>1.237075226332675</c:v>
                </c:pt>
                <c:pt idx="127">
                  <c:v>20.854057997073095</c:v>
                </c:pt>
                <c:pt idx="128">
                  <c:v>20.382471116713944</c:v>
                </c:pt>
                <c:pt idx="129">
                  <c:v>20.614052264227123</c:v>
                </c:pt>
                <c:pt idx="130">
                  <c:v>18.374073200995081</c:v>
                </c:pt>
                <c:pt idx="131">
                  <c:v>17.65661363404368</c:v>
                </c:pt>
                <c:pt idx="132">
                  <c:v>17.029172451009128</c:v>
                </c:pt>
                <c:pt idx="133">
                  <c:v>15.276964658597112</c:v>
                </c:pt>
                <c:pt idx="134">
                  <c:v>15.625178389572518</c:v>
                </c:pt>
                <c:pt idx="135">
                  <c:v>13.907702815437167</c:v>
                </c:pt>
                <c:pt idx="136">
                  <c:v>13.681390347271973</c:v>
                </c:pt>
                <c:pt idx="137">
                  <c:v>11.903982211410867</c:v>
                </c:pt>
                <c:pt idx="138">
                  <c:v>12.703286135765707</c:v>
                </c:pt>
                <c:pt idx="139">
                  <c:v>11.15798835731807</c:v>
                </c:pt>
                <c:pt idx="140">
                  <c:v>9.5154803789115192</c:v>
                </c:pt>
                <c:pt idx="141">
                  <c:v>9.5488638698927293</c:v>
                </c:pt>
                <c:pt idx="142">
                  <c:v>8.0093438840262472</c:v>
                </c:pt>
                <c:pt idx="143">
                  <c:v>4.0740102982449082</c:v>
                </c:pt>
                <c:pt idx="144">
                  <c:v>2.447365335163517</c:v>
                </c:pt>
                <c:pt idx="145">
                  <c:v>1.129648835419236</c:v>
                </c:pt>
                <c:pt idx="146">
                  <c:v>5.2632296711691184</c:v>
                </c:pt>
                <c:pt idx="147">
                  <c:v>27.733826846976957</c:v>
                </c:pt>
                <c:pt idx="148">
                  <c:v>8.2522125737114003</c:v>
                </c:pt>
                <c:pt idx="149">
                  <c:v>7.8465273435210188</c:v>
                </c:pt>
                <c:pt idx="150">
                  <c:v>28.168314679236492</c:v>
                </c:pt>
                <c:pt idx="151">
                  <c:v>9.0194840969550523</c:v>
                </c:pt>
                <c:pt idx="152">
                  <c:v>6.8461104095767755</c:v>
                </c:pt>
                <c:pt idx="153">
                  <c:v>27.260990307877549</c:v>
                </c:pt>
                <c:pt idx="154">
                  <c:v>5.7631128918066254</c:v>
                </c:pt>
                <c:pt idx="155">
                  <c:v>28.326637689873614</c:v>
                </c:pt>
                <c:pt idx="156">
                  <c:v>9.8913455562937269</c:v>
                </c:pt>
                <c:pt idx="157">
                  <c:v>7.4058270441034084</c:v>
                </c:pt>
                <c:pt idx="158">
                  <c:v>28.408049535449564</c:v>
                </c:pt>
                <c:pt idx="159">
                  <c:v>9.328703724234261</c:v>
                </c:pt>
                <c:pt idx="160">
                  <c:v>27.408014755197737</c:v>
                </c:pt>
                <c:pt idx="161">
                  <c:v>27.592500588323819</c:v>
                </c:pt>
                <c:pt idx="162">
                  <c:v>7.2599774252468894</c:v>
                </c:pt>
                <c:pt idx="163">
                  <c:v>28.230463446746185</c:v>
                </c:pt>
                <c:pt idx="164">
                  <c:v>2.2962085733112012</c:v>
                </c:pt>
                <c:pt idx="165">
                  <c:v>1.4633959170576254</c:v>
                </c:pt>
                <c:pt idx="166">
                  <c:v>0.67875574718626963</c:v>
                </c:pt>
                <c:pt idx="167">
                  <c:v>9.1920205395001245E-2</c:v>
                </c:pt>
                <c:pt idx="168">
                  <c:v>-0.1112618138454964</c:v>
                </c:pt>
                <c:pt idx="169">
                  <c:v>-0.20557903494594379</c:v>
                </c:pt>
                <c:pt idx="170">
                  <c:v>-0.6258386260634321</c:v>
                </c:pt>
                <c:pt idx="171">
                  <c:v>-0.82471759824743129</c:v>
                </c:pt>
                <c:pt idx="172">
                  <c:v>-0.55258667746493806</c:v>
                </c:pt>
                <c:pt idx="173">
                  <c:v>16.173961510400254</c:v>
                </c:pt>
                <c:pt idx="174">
                  <c:v>14.618762113751718</c:v>
                </c:pt>
                <c:pt idx="175">
                  <c:v>14.474391899864647</c:v>
                </c:pt>
                <c:pt idx="176">
                  <c:v>15.055480804988749</c:v>
                </c:pt>
                <c:pt idx="177">
                  <c:v>15.653642915813991</c:v>
                </c:pt>
                <c:pt idx="178">
                  <c:v>15.683313136907232</c:v>
                </c:pt>
                <c:pt idx="179">
                  <c:v>15.177140143813382</c:v>
                </c:pt>
                <c:pt idx="180">
                  <c:v>15.025558885445752</c:v>
                </c:pt>
                <c:pt idx="181">
                  <c:v>15.416941091539872</c:v>
                </c:pt>
                <c:pt idx="182">
                  <c:v>15.527197044917548</c:v>
                </c:pt>
                <c:pt idx="183">
                  <c:v>0.29372683427899832</c:v>
                </c:pt>
                <c:pt idx="184">
                  <c:v>-9.5728838249141551E-2</c:v>
                </c:pt>
                <c:pt idx="185">
                  <c:v>-0.66720637758417334</c:v>
                </c:pt>
                <c:pt idx="186">
                  <c:v>-0.51397516995959502</c:v>
                </c:pt>
                <c:pt idx="187">
                  <c:v>-0.42317912129705176</c:v>
                </c:pt>
                <c:pt idx="188">
                  <c:v>-0.23411329352220947</c:v>
                </c:pt>
                <c:pt idx="189">
                  <c:v>-2.5482889739316221E-2</c:v>
                </c:pt>
                <c:pt idx="190">
                  <c:v>-2.0485442086075219E-2</c:v>
                </c:pt>
                <c:pt idx="191">
                  <c:v>0.18829974196244262</c:v>
                </c:pt>
                <c:pt idx="192">
                  <c:v>0.36067771603021131</c:v>
                </c:pt>
                <c:pt idx="193">
                  <c:v>0.45183238448961371</c:v>
                </c:pt>
                <c:pt idx="194">
                  <c:v>0.49046273199502888</c:v>
                </c:pt>
                <c:pt idx="195">
                  <c:v>0.54934655801915555</c:v>
                </c:pt>
                <c:pt idx="196">
                  <c:v>0.59370989716229661</c:v>
                </c:pt>
                <c:pt idx="197">
                  <c:v>0.64770961496561619</c:v>
                </c:pt>
                <c:pt idx="198">
                  <c:v>0.75584088835369789</c:v>
                </c:pt>
                <c:pt idx="199">
                  <c:v>0.75339883424329401</c:v>
                </c:pt>
                <c:pt idx="200">
                  <c:v>0.80984060615701658</c:v>
                </c:pt>
                <c:pt idx="201">
                  <c:v>0.80984060615701658</c:v>
                </c:pt>
                <c:pt idx="202">
                  <c:v>0.86713126148765696</c:v>
                </c:pt>
                <c:pt idx="203">
                  <c:v>0.92845714162218929</c:v>
                </c:pt>
                <c:pt idx="204">
                  <c:v>0.97197159734841476</c:v>
                </c:pt>
                <c:pt idx="205">
                  <c:v>1.0332974774829478</c:v>
                </c:pt>
                <c:pt idx="206">
                  <c:v>1.0390304691206771</c:v>
                </c:pt>
                <c:pt idx="207">
                  <c:v>1.0849869789573059</c:v>
                </c:pt>
                <c:pt idx="208">
                  <c:v>1.077987377173858</c:v>
                </c:pt>
                <c:pt idx="209">
                  <c:v>1.153064576108612</c:v>
                </c:pt>
                <c:pt idx="210">
                  <c:v>1.153064576108612</c:v>
                </c:pt>
                <c:pt idx="211">
                  <c:v>1.1955603064557909</c:v>
                </c:pt>
                <c:pt idx="212">
                  <c:v>1.1980023605661982</c:v>
                </c:pt>
                <c:pt idx="213">
                  <c:v>1.2004444146766009</c:v>
                </c:pt>
                <c:pt idx="214">
                  <c:v>1.2053285228974102</c:v>
                </c:pt>
                <c:pt idx="215">
                  <c:v>1.2077705770078158</c:v>
                </c:pt>
                <c:pt idx="216">
                  <c:v>1.2077705770078158</c:v>
                </c:pt>
                <c:pt idx="217">
                  <c:v>1.274422953954055</c:v>
                </c:pt>
                <c:pt idx="218">
                  <c:v>1.2789104044083059</c:v>
                </c:pt>
                <c:pt idx="219">
                  <c:v>1.283397854862554</c:v>
                </c:pt>
                <c:pt idx="220">
                  <c:v>1.2888130839366119</c:v>
                </c:pt>
                <c:pt idx="221">
                  <c:v>1.3105804965662788</c:v>
                </c:pt>
                <c:pt idx="222">
                  <c:v>1.3302077663568725</c:v>
                </c:pt>
                <c:pt idx="223">
                  <c:v>20.378926451356541</c:v>
                </c:pt>
                <c:pt idx="224">
                  <c:v>20.642858216220208</c:v>
                </c:pt>
                <c:pt idx="225">
                  <c:v>20.664984209597673</c:v>
                </c:pt>
                <c:pt idx="226">
                  <c:v>20.286821726795878</c:v>
                </c:pt>
                <c:pt idx="227">
                  <c:v>20.094038498018804</c:v>
                </c:pt>
                <c:pt idx="228">
                  <c:v>18.542777659066779</c:v>
                </c:pt>
                <c:pt idx="229">
                  <c:v>18.597466176708139</c:v>
                </c:pt>
                <c:pt idx="230">
                  <c:v>17.130552234114049</c:v>
                </c:pt>
                <c:pt idx="231">
                  <c:v>16.379606037366024</c:v>
                </c:pt>
                <c:pt idx="232">
                  <c:v>16.71499615391194</c:v>
                </c:pt>
                <c:pt idx="233">
                  <c:v>16.068503785960285</c:v>
                </c:pt>
                <c:pt idx="234">
                  <c:v>14.801313590321858</c:v>
                </c:pt>
                <c:pt idx="235">
                  <c:v>14.318140927188979</c:v>
                </c:pt>
                <c:pt idx="236">
                  <c:v>14.651258724069001</c:v>
                </c:pt>
                <c:pt idx="237">
                  <c:v>13.79486493976755</c:v>
                </c:pt>
                <c:pt idx="238">
                  <c:v>13.645596584752987</c:v>
                </c:pt>
                <c:pt idx="239">
                  <c:v>11.131835405077958</c:v>
                </c:pt>
                <c:pt idx="240">
                  <c:v>9.8033762027166524</c:v>
                </c:pt>
                <c:pt idx="241">
                  <c:v>6.552605882242319</c:v>
                </c:pt>
                <c:pt idx="242">
                  <c:v>3.1030933037971238</c:v>
                </c:pt>
                <c:pt idx="243">
                  <c:v>2.9565169737549044</c:v>
                </c:pt>
                <c:pt idx="244">
                  <c:v>2.1784674964796467</c:v>
                </c:pt>
                <c:pt idx="245">
                  <c:v>1.706226241452899</c:v>
                </c:pt>
                <c:pt idx="246">
                  <c:v>24.30482457522255</c:v>
                </c:pt>
                <c:pt idx="247">
                  <c:v>8.8309316852734536</c:v>
                </c:pt>
                <c:pt idx="248">
                  <c:v>6.7234389786524265</c:v>
                </c:pt>
                <c:pt idx="249">
                  <c:v>7.4853235963252613</c:v>
                </c:pt>
                <c:pt idx="250">
                  <c:v>14.43308210871235</c:v>
                </c:pt>
                <c:pt idx="251">
                  <c:v>16.111197232061127</c:v>
                </c:pt>
                <c:pt idx="252">
                  <c:v>6.9904414379189674</c:v>
                </c:pt>
                <c:pt idx="253">
                  <c:v>7.1879433464746469</c:v>
                </c:pt>
                <c:pt idx="254">
                  <c:v>27.84917593867182</c:v>
                </c:pt>
                <c:pt idx="255">
                  <c:v>8.125512564595569</c:v>
                </c:pt>
                <c:pt idx="256">
                  <c:v>7.8786460111627994</c:v>
                </c:pt>
                <c:pt idx="257">
                  <c:v>28.436518234367465</c:v>
                </c:pt>
                <c:pt idx="258">
                  <c:v>8.8900325723467546</c:v>
                </c:pt>
                <c:pt idx="259">
                  <c:v>7.165584499974794</c:v>
                </c:pt>
                <c:pt idx="260">
                  <c:v>-1.0404510962033089</c:v>
                </c:pt>
                <c:pt idx="261">
                  <c:v>-1.3667481741999878</c:v>
                </c:pt>
                <c:pt idx="262">
                  <c:v>-1.2749553772252771</c:v>
                </c:pt>
                <c:pt idx="263">
                  <c:v>-1.3864017060771459</c:v>
                </c:pt>
                <c:pt idx="264">
                  <c:v>-1.3230588305881841</c:v>
                </c:pt>
                <c:pt idx="265">
                  <c:v>-1.3558981839845998</c:v>
                </c:pt>
                <c:pt idx="266">
                  <c:v>-1.3278668472191233</c:v>
                </c:pt>
                <c:pt idx="267">
                  <c:v>-1.3418825156018621</c:v>
                </c:pt>
                <c:pt idx="268">
                  <c:v>-1.3544774659158909</c:v>
                </c:pt>
                <c:pt idx="269">
                  <c:v>3.5596128835209422</c:v>
                </c:pt>
                <c:pt idx="270">
                  <c:v>4.1497886022087007</c:v>
                </c:pt>
                <c:pt idx="271">
                  <c:v>4.7631945192432958</c:v>
                </c:pt>
                <c:pt idx="272">
                  <c:v>15.2208912295039</c:v>
                </c:pt>
                <c:pt idx="273">
                  <c:v>15.877954013409042</c:v>
                </c:pt>
                <c:pt idx="274">
                  <c:v>16.638857808281063</c:v>
                </c:pt>
                <c:pt idx="275">
                  <c:v>16.73671486801971</c:v>
                </c:pt>
                <c:pt idx="276">
                  <c:v>17.239776437564881</c:v>
                </c:pt>
                <c:pt idx="277">
                  <c:v>17.161751742858254</c:v>
                </c:pt>
                <c:pt idx="278">
                  <c:v>17.007066621951111</c:v>
                </c:pt>
                <c:pt idx="279">
                  <c:v>0.78128357674344551</c:v>
                </c:pt>
                <c:pt idx="280">
                  <c:v>0.37355109414677912</c:v>
                </c:pt>
                <c:pt idx="281">
                  <c:v>-0.34002414278260445</c:v>
                </c:pt>
                <c:pt idx="282">
                  <c:v>-0.69013997014351158</c:v>
                </c:pt>
                <c:pt idx="283">
                  <c:v>-0.56884107069761713</c:v>
                </c:pt>
                <c:pt idx="284">
                  <c:v>-0.63656606708076457</c:v>
                </c:pt>
                <c:pt idx="285">
                  <c:v>-0.57998101056778684</c:v>
                </c:pt>
                <c:pt idx="286">
                  <c:v>-0.48032548053639962</c:v>
                </c:pt>
                <c:pt idx="287">
                  <c:v>-0.47865966465198562</c:v>
                </c:pt>
                <c:pt idx="288">
                  <c:v>-0.37733831873618939</c:v>
                </c:pt>
                <c:pt idx="289">
                  <c:v>-0.37234087108294878</c:v>
                </c:pt>
                <c:pt idx="290">
                  <c:v>-0.16146780551409146</c:v>
                </c:pt>
                <c:pt idx="291">
                  <c:v>-0.1605000809212323</c:v>
                </c:pt>
                <c:pt idx="292">
                  <c:v>0.11001127545508756</c:v>
                </c:pt>
                <c:pt idx="293">
                  <c:v>0.15647394685082591</c:v>
                </c:pt>
                <c:pt idx="294">
                  <c:v>0.15550622225796701</c:v>
                </c:pt>
                <c:pt idx="295">
                  <c:v>0.30827638269720986</c:v>
                </c:pt>
                <c:pt idx="296">
                  <c:v>0.318291149870704</c:v>
                </c:pt>
                <c:pt idx="297">
                  <c:v>0.37716584533757785</c:v>
                </c:pt>
                <c:pt idx="298">
                  <c:v>0.3708855545336594</c:v>
                </c:pt>
                <c:pt idx="299">
                  <c:v>0.41201158183191838</c:v>
                </c:pt>
                <c:pt idx="300">
                  <c:v>0.40887143642995782</c:v>
                </c:pt>
                <c:pt idx="301">
                  <c:v>0.41888620360345391</c:v>
                </c:pt>
                <c:pt idx="302">
                  <c:v>0.47776089907032981</c:v>
                </c:pt>
                <c:pt idx="303">
                  <c:v>0.52830736257446897</c:v>
                </c:pt>
                <c:pt idx="304">
                  <c:v>0.59032220344330522</c:v>
                </c:pt>
                <c:pt idx="305">
                  <c:v>0.60033697061680313</c:v>
                </c:pt>
                <c:pt idx="306">
                  <c:v>0.60347711601876253</c:v>
                </c:pt>
                <c:pt idx="307">
                  <c:v>0.59346234884526416</c:v>
                </c:pt>
                <c:pt idx="308">
                  <c:v>0.59346234884526416</c:v>
                </c:pt>
                <c:pt idx="309">
                  <c:v>0.59032220344330522</c:v>
                </c:pt>
                <c:pt idx="310">
                  <c:v>0.60033697061680313</c:v>
                </c:pt>
                <c:pt idx="311">
                  <c:v>0.60033697061680313</c:v>
                </c:pt>
                <c:pt idx="312">
                  <c:v>0.60033697061680313</c:v>
                </c:pt>
                <c:pt idx="313">
                  <c:v>0.60033697061680313</c:v>
                </c:pt>
                <c:pt idx="314">
                  <c:v>0.60347711601876253</c:v>
                </c:pt>
                <c:pt idx="315">
                  <c:v>0.7097581295878117</c:v>
                </c:pt>
                <c:pt idx="316">
                  <c:v>0.65402357952289913</c:v>
                </c:pt>
                <c:pt idx="317">
                  <c:v>0.72605318756522641</c:v>
                </c:pt>
                <c:pt idx="318">
                  <c:v>0.72605318756522641</c:v>
                </c:pt>
                <c:pt idx="319">
                  <c:v>16.37317441184668</c:v>
                </c:pt>
                <c:pt idx="320">
                  <c:v>15.948559702396972</c:v>
                </c:pt>
                <c:pt idx="321">
                  <c:v>14.756954749598609</c:v>
                </c:pt>
                <c:pt idx="322">
                  <c:v>14.8879357805419</c:v>
                </c:pt>
                <c:pt idx="323">
                  <c:v>14.247776494791797</c:v>
                </c:pt>
                <c:pt idx="324">
                  <c:v>13.579262227948021</c:v>
                </c:pt>
                <c:pt idx="325">
                  <c:v>12.774404881819397</c:v>
                </c:pt>
                <c:pt idx="326">
                  <c:v>11.772717304601739</c:v>
                </c:pt>
                <c:pt idx="327">
                  <c:v>12.242961697425731</c:v>
                </c:pt>
                <c:pt idx="328">
                  <c:v>11.934282018620747</c:v>
                </c:pt>
                <c:pt idx="329">
                  <c:v>11.17621481697882</c:v>
                </c:pt>
                <c:pt idx="330">
                  <c:v>10.417840218709141</c:v>
                </c:pt>
                <c:pt idx="331">
                  <c:v>10.99394378527821</c:v>
                </c:pt>
                <c:pt idx="332">
                  <c:v>11.421230964873823</c:v>
                </c:pt>
                <c:pt idx="333">
                  <c:v>8.1708631046242957</c:v>
                </c:pt>
                <c:pt idx="334">
                  <c:v>7.5166133668454549</c:v>
                </c:pt>
                <c:pt idx="335">
                  <c:v>26.786786045457486</c:v>
                </c:pt>
                <c:pt idx="336">
                  <c:v>10.032032018761138</c:v>
                </c:pt>
                <c:pt idx="337">
                  <c:v>6.6547865949572866</c:v>
                </c:pt>
                <c:pt idx="338">
                  <c:v>25.358762383126766</c:v>
                </c:pt>
                <c:pt idx="339">
                  <c:v>15.17666765595558</c:v>
                </c:pt>
                <c:pt idx="340">
                  <c:v>7.2121691397729792</c:v>
                </c:pt>
                <c:pt idx="341">
                  <c:v>28.117408640840804</c:v>
                </c:pt>
                <c:pt idx="342">
                  <c:v>28.729541644264607</c:v>
                </c:pt>
                <c:pt idx="343">
                  <c:v>7.2094176242805394</c:v>
                </c:pt>
                <c:pt idx="344">
                  <c:v>29.236154711188274</c:v>
                </c:pt>
                <c:pt idx="345">
                  <c:v>29.491056125981039</c:v>
                </c:pt>
                <c:pt idx="346">
                  <c:v>16.996483265897037</c:v>
                </c:pt>
                <c:pt idx="347">
                  <c:v>6.4958765037152615</c:v>
                </c:pt>
                <c:pt idx="348">
                  <c:v>29.847451982305699</c:v>
                </c:pt>
                <c:pt idx="349">
                  <c:v>28.781647707750757</c:v>
                </c:pt>
                <c:pt idx="350">
                  <c:v>8.1722475639853673</c:v>
                </c:pt>
                <c:pt idx="351">
                  <c:v>29.378560243187305</c:v>
                </c:pt>
                <c:pt idx="352">
                  <c:v>12.836643567766377</c:v>
                </c:pt>
                <c:pt idx="353">
                  <c:v>6.9459046464297378</c:v>
                </c:pt>
                <c:pt idx="354">
                  <c:v>29.486041838649971</c:v>
                </c:pt>
                <c:pt idx="355">
                  <c:v>10.73567762284968</c:v>
                </c:pt>
                <c:pt idx="356">
                  <c:v>-0.22852383691781039</c:v>
                </c:pt>
                <c:pt idx="357">
                  <c:v>-0.69827780224993563</c:v>
                </c:pt>
                <c:pt idx="358">
                  <c:v>-0.79638430359909773</c:v>
                </c:pt>
                <c:pt idx="359">
                  <c:v>-0.58699876555258967</c:v>
                </c:pt>
                <c:pt idx="360">
                  <c:v>-0.48309918057408718</c:v>
                </c:pt>
                <c:pt idx="361">
                  <c:v>-0.4088322705549759</c:v>
                </c:pt>
                <c:pt idx="362">
                  <c:v>-0.15434933677165469</c:v>
                </c:pt>
                <c:pt idx="363">
                  <c:v>-0.24579951641904971</c:v>
                </c:pt>
                <c:pt idx="364">
                  <c:v>-0.36957741159609792</c:v>
                </c:pt>
                <c:pt idx="365">
                  <c:v>6.7712158786177872</c:v>
                </c:pt>
                <c:pt idx="366">
                  <c:v>30.018658287062294</c:v>
                </c:pt>
                <c:pt idx="367">
                  <c:v>28.713143647686</c:v>
                </c:pt>
                <c:pt idx="368">
                  <c:v>6.5854664871234281</c:v>
                </c:pt>
                <c:pt idx="369">
                  <c:v>27.585249228410689</c:v>
                </c:pt>
                <c:pt idx="370">
                  <c:v>17.229906636404287</c:v>
                </c:pt>
                <c:pt idx="371">
                  <c:v>6.8016749474942095</c:v>
                </c:pt>
                <c:pt idx="372">
                  <c:v>26.24854766422936</c:v>
                </c:pt>
                <c:pt idx="373">
                  <c:v>12.806824217185074</c:v>
                </c:pt>
                <c:pt idx="374">
                  <c:v>6.3873481943487924</c:v>
                </c:pt>
                <c:pt idx="375">
                  <c:v>-1.4021917049537263E-2</c:v>
                </c:pt>
                <c:pt idx="376">
                  <c:v>4.8244599217526517E-2</c:v>
                </c:pt>
                <c:pt idx="377">
                  <c:v>-0.44276367287408941</c:v>
                </c:pt>
                <c:pt idx="378">
                  <c:v>-0.89259834894268231</c:v>
                </c:pt>
                <c:pt idx="379">
                  <c:v>-1.1791650498313389</c:v>
                </c:pt>
                <c:pt idx="380">
                  <c:v>-1.512085736194752</c:v>
                </c:pt>
                <c:pt idx="381">
                  <c:v>-1.5942509243102323</c:v>
                </c:pt>
                <c:pt idx="382">
                  <c:v>-1.5003340756246031</c:v>
                </c:pt>
                <c:pt idx="383">
                  <c:v>-1.4096791190680158</c:v>
                </c:pt>
                <c:pt idx="384">
                  <c:v>-1.1662220687962388</c:v>
                </c:pt>
                <c:pt idx="385">
                  <c:v>-1.1309911238757639</c:v>
                </c:pt>
                <c:pt idx="386">
                  <c:v>-0.88753407360398262</c:v>
                </c:pt>
                <c:pt idx="387">
                  <c:v>-0.84220659532568976</c:v>
                </c:pt>
                <c:pt idx="388">
                  <c:v>-0.67513763809085181</c:v>
                </c:pt>
                <c:pt idx="389">
                  <c:v>-0.62518872560385863</c:v>
                </c:pt>
                <c:pt idx="390">
                  <c:v>-0.47441149203461191</c:v>
                </c:pt>
                <c:pt idx="391">
                  <c:v>-0.20196468647257396</c:v>
                </c:pt>
                <c:pt idx="392">
                  <c:v>-9.6682399706207525E-2</c:v>
                </c:pt>
                <c:pt idx="393">
                  <c:v>8.5998870601568522E-3</c:v>
                </c:pt>
                <c:pt idx="394">
                  <c:v>1.2153918802164054E-2</c:v>
                </c:pt>
                <c:pt idx="395">
                  <c:v>0.11961775693488649</c:v>
                </c:pt>
                <c:pt idx="396">
                  <c:v>0.35145035115428364</c:v>
                </c:pt>
                <c:pt idx="397">
                  <c:v>0.35145035115428364</c:v>
                </c:pt>
                <c:pt idx="398">
                  <c:v>0.41719966839269407</c:v>
                </c:pt>
                <c:pt idx="399">
                  <c:v>0.4077792321868145</c:v>
                </c:pt>
                <c:pt idx="400">
                  <c:v>0.51092010035391122</c:v>
                </c:pt>
                <c:pt idx="401">
                  <c:v>0.50777995495195027</c:v>
                </c:pt>
                <c:pt idx="402">
                  <c:v>0.50463980954999055</c:v>
                </c:pt>
                <c:pt idx="403">
                  <c:v>0.5618205041340677</c:v>
                </c:pt>
                <c:pt idx="404">
                  <c:v>0.5618205041340677</c:v>
                </c:pt>
                <c:pt idx="405">
                  <c:v>0.5593784500236626</c:v>
                </c:pt>
                <c:pt idx="406">
                  <c:v>0.60289290574988863</c:v>
                </c:pt>
                <c:pt idx="407">
                  <c:v>0.66177673177401863</c:v>
                </c:pt>
                <c:pt idx="408">
                  <c:v>0.72639354943587164</c:v>
                </c:pt>
                <c:pt idx="409">
                  <c:v>0.72639354943587164</c:v>
                </c:pt>
                <c:pt idx="410">
                  <c:v>0.7877194295704063</c:v>
                </c:pt>
                <c:pt idx="411">
                  <c:v>0.83611799351744287</c:v>
                </c:pt>
                <c:pt idx="412">
                  <c:v>0.79755967669316497</c:v>
                </c:pt>
                <c:pt idx="413">
                  <c:v>0.81808708431568178</c:v>
                </c:pt>
                <c:pt idx="414">
                  <c:v>0.77177297045664794</c:v>
                </c:pt>
                <c:pt idx="415">
                  <c:v>14.328386921569217</c:v>
                </c:pt>
                <c:pt idx="416">
                  <c:v>12.795431894239806</c:v>
                </c:pt>
                <c:pt idx="417">
                  <c:v>12.010354196353219</c:v>
                </c:pt>
                <c:pt idx="418">
                  <c:v>10.961578099520947</c:v>
                </c:pt>
                <c:pt idx="419">
                  <c:v>10.6858125058368</c:v>
                </c:pt>
                <c:pt idx="420">
                  <c:v>10.011645577230842</c:v>
                </c:pt>
                <c:pt idx="421">
                  <c:v>7.3851413168265365</c:v>
                </c:pt>
                <c:pt idx="422">
                  <c:v>8.821650358181957</c:v>
                </c:pt>
                <c:pt idx="423">
                  <c:v>7.2200620141163876</c:v>
                </c:pt>
                <c:pt idx="424">
                  <c:v>6.9065704215398513</c:v>
                </c:pt>
                <c:pt idx="425">
                  <c:v>6.4658791127713258</c:v>
                </c:pt>
                <c:pt idx="426">
                  <c:v>22.454705534595856</c:v>
                </c:pt>
                <c:pt idx="427">
                  <c:v>11.044023019514567</c:v>
                </c:pt>
                <c:pt idx="428">
                  <c:v>8.0278837159565679</c:v>
                </c:pt>
                <c:pt idx="429">
                  <c:v>25.03637327121816</c:v>
                </c:pt>
                <c:pt idx="430">
                  <c:v>11.690102656485594</c:v>
                </c:pt>
                <c:pt idx="431">
                  <c:v>7.3491324680995396</c:v>
                </c:pt>
                <c:pt idx="432">
                  <c:v>28.74540425046828</c:v>
                </c:pt>
                <c:pt idx="433">
                  <c:v>8.6294214695799987</c:v>
                </c:pt>
                <c:pt idx="434">
                  <c:v>28.352496726495531</c:v>
                </c:pt>
                <c:pt idx="435">
                  <c:v>11.42383816314238</c:v>
                </c:pt>
                <c:pt idx="436">
                  <c:v>14.838450092002679</c:v>
                </c:pt>
                <c:pt idx="437">
                  <c:v>29.915773514943954</c:v>
                </c:pt>
                <c:pt idx="438">
                  <c:v>9.0307908781080091</c:v>
                </c:pt>
                <c:pt idx="439">
                  <c:v>28.730932957153186</c:v>
                </c:pt>
                <c:pt idx="440">
                  <c:v>15.835101727708571</c:v>
                </c:pt>
                <c:pt idx="441">
                  <c:v>9.3865800332045666</c:v>
                </c:pt>
                <c:pt idx="442">
                  <c:v>29.472994115431909</c:v>
                </c:pt>
                <c:pt idx="443">
                  <c:v>8.7645263847647783</c:v>
                </c:pt>
                <c:pt idx="444">
                  <c:v>29.922686265597061</c:v>
                </c:pt>
                <c:pt idx="445">
                  <c:v>29.74639657137341</c:v>
                </c:pt>
                <c:pt idx="446">
                  <c:v>8.4879985722108469</c:v>
                </c:pt>
                <c:pt idx="447">
                  <c:v>29.922686265597061</c:v>
                </c:pt>
                <c:pt idx="448">
                  <c:v>30.316887142753924</c:v>
                </c:pt>
                <c:pt idx="449">
                  <c:v>10.067228769778948</c:v>
                </c:pt>
                <c:pt idx="450">
                  <c:v>30.489425453621589</c:v>
                </c:pt>
                <c:pt idx="451">
                  <c:v>30.384757620578242</c:v>
                </c:pt>
                <c:pt idx="452">
                  <c:v>3.1006249798969145</c:v>
                </c:pt>
                <c:pt idx="453">
                  <c:v>0.97666815259820605</c:v>
                </c:pt>
                <c:pt idx="454">
                  <c:v>0.78381539476231066</c:v>
                </c:pt>
                <c:pt idx="455">
                  <c:v>0.82788900137886923</c:v>
                </c:pt>
                <c:pt idx="456">
                  <c:v>0.68142956303971569</c:v>
                </c:pt>
                <c:pt idx="457">
                  <c:v>0.63761511380413383</c:v>
                </c:pt>
                <c:pt idx="458">
                  <c:v>0.68207872514248091</c:v>
                </c:pt>
                <c:pt idx="459">
                  <c:v>0.66489642432546603</c:v>
                </c:pt>
                <c:pt idx="460">
                  <c:v>0.54685206598068858</c:v>
                </c:pt>
                <c:pt idx="461">
                  <c:v>7.3539071174703716</c:v>
                </c:pt>
                <c:pt idx="462">
                  <c:v>29.92546290420098</c:v>
                </c:pt>
                <c:pt idx="463">
                  <c:v>28.691275318463184</c:v>
                </c:pt>
                <c:pt idx="464">
                  <c:v>7.3693973458601301</c:v>
                </c:pt>
                <c:pt idx="465">
                  <c:v>27.118145935756178</c:v>
                </c:pt>
                <c:pt idx="466">
                  <c:v>27.04386009810376</c:v>
                </c:pt>
                <c:pt idx="467">
                  <c:v>5.6273473608924149</c:v>
                </c:pt>
                <c:pt idx="468">
                  <c:v>26.821746248124278</c:v>
                </c:pt>
                <c:pt idx="469">
                  <c:v>10.93217754742188</c:v>
                </c:pt>
                <c:pt idx="470">
                  <c:v>5.6630378755554602</c:v>
                </c:pt>
                <c:pt idx="471">
                  <c:v>-0.24944537301783301</c:v>
                </c:pt>
                <c:pt idx="472">
                  <c:v>-0.34464217373329897</c:v>
                </c:pt>
                <c:pt idx="473">
                  <c:v>-0.47854804944353185</c:v>
                </c:pt>
                <c:pt idx="474">
                  <c:v>-0.61596168784621819</c:v>
                </c:pt>
                <c:pt idx="475">
                  <c:v>-0.99638509396562469</c:v>
                </c:pt>
                <c:pt idx="476">
                  <c:v>-1.4931750154947039</c:v>
                </c:pt>
                <c:pt idx="477">
                  <c:v>-1.5819820356570851</c:v>
                </c:pt>
                <c:pt idx="478">
                  <c:v>-1.5717808238145279</c:v>
                </c:pt>
                <c:pt idx="479">
                  <c:v>-1.4399687191414754</c:v>
                </c:pt>
                <c:pt idx="480">
                  <c:v>-1.2275722836283398</c:v>
                </c:pt>
                <c:pt idx="481">
                  <c:v>-1.1923413387078658</c:v>
                </c:pt>
                <c:pt idx="482">
                  <c:v>-0.98870558533254949</c:v>
                </c:pt>
                <c:pt idx="483">
                  <c:v>-0.92374987687343202</c:v>
                </c:pt>
                <c:pt idx="484">
                  <c:v>-0.8352718018257409</c:v>
                </c:pt>
                <c:pt idx="485">
                  <c:v>-0.52087416343035298</c:v>
                </c:pt>
                <c:pt idx="486">
                  <c:v>-0.52184188802321252</c:v>
                </c:pt>
                <c:pt idx="487">
                  <c:v>-0.52280961261607251</c:v>
                </c:pt>
                <c:pt idx="488">
                  <c:v>-0.35467736922754239</c:v>
                </c:pt>
                <c:pt idx="489">
                  <c:v>-0.20196468647257396</c:v>
                </c:pt>
                <c:pt idx="490">
                  <c:v>-9.7650124299065347E-2</c:v>
                </c:pt>
                <c:pt idx="491">
                  <c:v>-9.5714675113347886E-2</c:v>
                </c:pt>
                <c:pt idx="492">
                  <c:v>0.17576440585581801</c:v>
                </c:pt>
                <c:pt idx="493">
                  <c:v>0.29885594649132835</c:v>
                </c:pt>
                <c:pt idx="494">
                  <c:v>0.29885594649132835</c:v>
                </c:pt>
                <c:pt idx="495">
                  <c:v>0.36774540913169668</c:v>
                </c:pt>
                <c:pt idx="496">
                  <c:v>0.41515172723387822</c:v>
                </c:pt>
                <c:pt idx="497">
                  <c:v>0.46774613189683328</c:v>
                </c:pt>
                <c:pt idx="498">
                  <c:v>0.46460598649487483</c:v>
                </c:pt>
                <c:pt idx="499">
                  <c:v>0.52034053655979062</c:v>
                </c:pt>
                <c:pt idx="500">
                  <c:v>0.52034053655979062</c:v>
                </c:pt>
                <c:pt idx="501">
                  <c:v>0.57607508662470475</c:v>
                </c:pt>
                <c:pt idx="502">
                  <c:v>0.56979479582078363</c:v>
                </c:pt>
                <c:pt idx="503">
                  <c:v>0.61406096852100378</c:v>
                </c:pt>
                <c:pt idx="504">
                  <c:v>0.67398700232604303</c:v>
                </c:pt>
                <c:pt idx="505">
                  <c:v>0.67398700232604303</c:v>
                </c:pt>
                <c:pt idx="506">
                  <c:v>0.68295043116137533</c:v>
                </c:pt>
                <c:pt idx="507">
                  <c:v>0.79237159013238978</c:v>
                </c:pt>
                <c:pt idx="508">
                  <c:v>0.80179202633826863</c:v>
                </c:pt>
                <c:pt idx="509">
                  <c:v>0.82750752052156129</c:v>
                </c:pt>
                <c:pt idx="510">
                  <c:v>0.79061384286840763</c:v>
                </c:pt>
                <c:pt idx="511">
                  <c:v>13.332871257549277</c:v>
                </c:pt>
                <c:pt idx="512">
                  <c:v>12.018853905402111</c:v>
                </c:pt>
                <c:pt idx="513">
                  <c:v>11.144830048646522</c:v>
                </c:pt>
                <c:pt idx="514">
                  <c:v>8.9348819850129573</c:v>
                </c:pt>
                <c:pt idx="515">
                  <c:v>8.2443902749594109</c:v>
                </c:pt>
                <c:pt idx="516">
                  <c:v>8.5377478639576321</c:v>
                </c:pt>
                <c:pt idx="517">
                  <c:v>7.4462603109823826</c:v>
                </c:pt>
                <c:pt idx="518">
                  <c:v>6.4954592204744577</c:v>
                </c:pt>
                <c:pt idx="519">
                  <c:v>6.2476147599443053</c:v>
                </c:pt>
                <c:pt idx="520">
                  <c:v>5.1183267449902869</c:v>
                </c:pt>
                <c:pt idx="521">
                  <c:v>5.1598760356279465</c:v>
                </c:pt>
                <c:pt idx="522">
                  <c:v>27.92680931120346</c:v>
                </c:pt>
                <c:pt idx="523">
                  <c:v>7.9268760215304637</c:v>
                </c:pt>
                <c:pt idx="524">
                  <c:v>8.0753592274865778</c:v>
                </c:pt>
                <c:pt idx="525">
                  <c:v>26.3788760981157</c:v>
                </c:pt>
                <c:pt idx="526">
                  <c:v>8.0940001395020467</c:v>
                </c:pt>
                <c:pt idx="527">
                  <c:v>29.347150105869453</c:v>
                </c:pt>
                <c:pt idx="528">
                  <c:v>10.96101086697122</c:v>
                </c:pt>
                <c:pt idx="529">
                  <c:v>26.79094801970772</c:v>
                </c:pt>
                <c:pt idx="530">
                  <c:v>28.339511809572549</c:v>
                </c:pt>
                <c:pt idx="531">
                  <c:v>28.469840243458862</c:v>
                </c:pt>
                <c:pt idx="532">
                  <c:v>5.6487844241339165</c:v>
                </c:pt>
                <c:pt idx="533">
                  <c:v>27.916967418558315</c:v>
                </c:pt>
                <c:pt idx="534">
                  <c:v>7.1311606681046698</c:v>
                </c:pt>
                <c:pt idx="535">
                  <c:v>27.011552961195491</c:v>
                </c:pt>
                <c:pt idx="536">
                  <c:v>8.672211131943488</c:v>
                </c:pt>
                <c:pt idx="537">
                  <c:v>26.478974611484674</c:v>
                </c:pt>
                <c:pt idx="538">
                  <c:v>28.51781208012688</c:v>
                </c:pt>
                <c:pt idx="539">
                  <c:v>6.8288249745854896</c:v>
                </c:pt>
                <c:pt idx="540">
                  <c:v>29.659927291543699</c:v>
                </c:pt>
                <c:pt idx="541">
                  <c:v>8.4460238610468714</c:v>
                </c:pt>
                <c:pt idx="542">
                  <c:v>30.229999657409532</c:v>
                </c:pt>
                <c:pt idx="543">
                  <c:v>29.448735684806195</c:v>
                </c:pt>
                <c:pt idx="544">
                  <c:v>15.440841872401204</c:v>
                </c:pt>
                <c:pt idx="545">
                  <c:v>27.911902948690251</c:v>
                </c:pt>
                <c:pt idx="546">
                  <c:v>30.896805130568239</c:v>
                </c:pt>
                <c:pt idx="547">
                  <c:v>9.8427495524324975</c:v>
                </c:pt>
                <c:pt idx="548">
                  <c:v>-0.40137131975687035</c:v>
                </c:pt>
                <c:pt idx="549">
                  <c:v>0.64691567278886475</c:v>
                </c:pt>
                <c:pt idx="550">
                  <c:v>0.6501416750492236</c:v>
                </c:pt>
                <c:pt idx="551">
                  <c:v>0.58344354859198788</c:v>
                </c:pt>
                <c:pt idx="552">
                  <c:v>0.46752337141902961</c:v>
                </c:pt>
                <c:pt idx="553">
                  <c:v>0.51389373328654475</c:v>
                </c:pt>
                <c:pt idx="554">
                  <c:v>0.72889907020080047</c:v>
                </c:pt>
                <c:pt idx="555">
                  <c:v>0.57213128867164309</c:v>
                </c:pt>
                <c:pt idx="556">
                  <c:v>0.37543442789476184</c:v>
                </c:pt>
                <c:pt idx="557">
                  <c:v>8.2696299562606246</c:v>
                </c:pt>
                <c:pt idx="558">
                  <c:v>30.36094230781092</c:v>
                </c:pt>
                <c:pt idx="559">
                  <c:v>29.65410476150263</c:v>
                </c:pt>
                <c:pt idx="560">
                  <c:v>28.512762660878501</c:v>
                </c:pt>
                <c:pt idx="561">
                  <c:v>6.766112580164128</c:v>
                </c:pt>
                <c:pt idx="562">
                  <c:v>27.211183350978999</c:v>
                </c:pt>
                <c:pt idx="563">
                  <c:v>13.781429376097519</c:v>
                </c:pt>
                <c:pt idx="564">
                  <c:v>6.4574629322036925</c:v>
                </c:pt>
                <c:pt idx="565">
                  <c:v>27.19708920158871</c:v>
                </c:pt>
                <c:pt idx="566">
                  <c:v>8.6354714902565419</c:v>
                </c:pt>
                <c:pt idx="567">
                  <c:v>0.15700244922843318</c:v>
                </c:pt>
                <c:pt idx="568">
                  <c:v>0.19772047032726542</c:v>
                </c:pt>
                <c:pt idx="569">
                  <c:v>-0.10255364059276451</c:v>
                </c:pt>
                <c:pt idx="570">
                  <c:v>-0.40594025091055091</c:v>
                </c:pt>
                <c:pt idx="571">
                  <c:v>-0.79756337127995103</c:v>
                </c:pt>
                <c:pt idx="572">
                  <c:v>-1.0484242380348356</c:v>
                </c:pt>
                <c:pt idx="573">
                  <c:v>-1.2545894332352281</c:v>
                </c:pt>
                <c:pt idx="574">
                  <c:v>-1.5242570863376019</c:v>
                </c:pt>
                <c:pt idx="575">
                  <c:v>-1.414435033242939</c:v>
                </c:pt>
                <c:pt idx="576">
                  <c:v>-1.3695068293005299</c:v>
                </c:pt>
                <c:pt idx="577">
                  <c:v>-1.1456243835271334</c:v>
                </c:pt>
                <c:pt idx="578">
                  <c:v>-1.0783507451570991</c:v>
                </c:pt>
                <c:pt idx="579">
                  <c:v>-0.86317067672650993</c:v>
                </c:pt>
                <c:pt idx="580">
                  <c:v>-0.80774666509039472</c:v>
                </c:pt>
                <c:pt idx="581">
                  <c:v>-0.58942402638127567</c:v>
                </c:pt>
                <c:pt idx="582">
                  <c:v>-0.59952055973909479</c:v>
                </c:pt>
                <c:pt idx="583">
                  <c:v>-0.52668051098750601</c:v>
                </c:pt>
                <c:pt idx="584">
                  <c:v>-0.31305332079609249</c:v>
                </c:pt>
                <c:pt idx="585">
                  <c:v>-0.2087387586225852</c:v>
                </c:pt>
                <c:pt idx="586">
                  <c:v>-0.20970648321544391</c:v>
                </c:pt>
                <c:pt idx="587">
                  <c:v>-0.10732737022765305</c:v>
                </c:pt>
                <c:pt idx="588">
                  <c:v>5.8869423975149458E-2</c:v>
                </c:pt>
                <c:pt idx="589">
                  <c:v>0.10436437077803391</c:v>
                </c:pt>
                <c:pt idx="590">
                  <c:v>0.1033966461851752</c:v>
                </c:pt>
                <c:pt idx="591">
                  <c:v>0.28876996726461379</c:v>
                </c:pt>
                <c:pt idx="592">
                  <c:v>0.28876996726461379</c:v>
                </c:pt>
                <c:pt idx="593">
                  <c:v>0.2856298218626544</c:v>
                </c:pt>
                <c:pt idx="594">
                  <c:v>0.2856298218626544</c:v>
                </c:pt>
                <c:pt idx="595">
                  <c:v>0.33822422652560796</c:v>
                </c:pt>
                <c:pt idx="596">
                  <c:v>0.33822422652560796</c:v>
                </c:pt>
                <c:pt idx="597">
                  <c:v>0.33508408112364851</c:v>
                </c:pt>
                <c:pt idx="598">
                  <c:v>0.39250516639932326</c:v>
                </c:pt>
                <c:pt idx="599">
                  <c:v>0.39564531180128232</c:v>
                </c:pt>
                <c:pt idx="600">
                  <c:v>0.39250516639932326</c:v>
                </c:pt>
                <c:pt idx="601">
                  <c:v>0.39250516639932326</c:v>
                </c:pt>
                <c:pt idx="602">
                  <c:v>0.45137986186619888</c:v>
                </c:pt>
                <c:pt idx="603">
                  <c:v>0.39564531180128232</c:v>
                </c:pt>
                <c:pt idx="604">
                  <c:v>0.51822138334775147</c:v>
                </c:pt>
                <c:pt idx="605">
                  <c:v>0.41822066058262003</c:v>
                </c:pt>
                <c:pt idx="606">
                  <c:v>0.47190726948871681</c:v>
                </c:pt>
                <c:pt idx="607">
                  <c:v>0.48132770569459626</c:v>
                </c:pt>
                <c:pt idx="608">
                  <c:v>0.42873330103164281</c:v>
                </c:pt>
                <c:pt idx="609">
                  <c:v>0.47266760718166445</c:v>
                </c:pt>
                <c:pt idx="610">
                  <c:v>0.48475578036286604</c:v>
                </c:pt>
                <c:pt idx="611">
                  <c:v>0.48811764542195002</c:v>
                </c:pt>
                <c:pt idx="612">
                  <c:v>0.53273257531597151</c:v>
                </c:pt>
                <c:pt idx="613">
                  <c:v>0.43642539920032902</c:v>
                </c:pt>
                <c:pt idx="614">
                  <c:v>0.25120567756986611</c:v>
                </c:pt>
                <c:pt idx="615">
                  <c:v>4.5652187362474947</c:v>
                </c:pt>
                <c:pt idx="616">
                  <c:v>3.2234846116318119</c:v>
                </c:pt>
                <c:pt idx="617">
                  <c:v>3.0236352415766712</c:v>
                </c:pt>
                <c:pt idx="618">
                  <c:v>2.499198795961485</c:v>
                </c:pt>
                <c:pt idx="619">
                  <c:v>1.6339372666266201</c:v>
                </c:pt>
                <c:pt idx="620">
                  <c:v>1.0718792055593664</c:v>
                </c:pt>
                <c:pt idx="621">
                  <c:v>-0.36623009159391301</c:v>
                </c:pt>
                <c:pt idx="622">
                  <c:v>-0.58552762281792559</c:v>
                </c:pt>
                <c:pt idx="623">
                  <c:v>3.2939280229706052</c:v>
                </c:pt>
                <c:pt idx="624">
                  <c:v>29.628708569897899</c:v>
                </c:pt>
                <c:pt idx="625">
                  <c:v>15.008607350743739</c:v>
                </c:pt>
                <c:pt idx="626">
                  <c:v>7.3508795972252665</c:v>
                </c:pt>
                <c:pt idx="627">
                  <c:v>29.52466604124454</c:v>
                </c:pt>
                <c:pt idx="628">
                  <c:v>6.7707615843739095</c:v>
                </c:pt>
                <c:pt idx="629">
                  <c:v>25.795085548313295</c:v>
                </c:pt>
                <c:pt idx="630">
                  <c:v>28.384231301738989</c:v>
                </c:pt>
                <c:pt idx="631">
                  <c:v>7.6693430453676124</c:v>
                </c:pt>
                <c:pt idx="632">
                  <c:v>28.496886871683056</c:v>
                </c:pt>
                <c:pt idx="633">
                  <c:v>11.50845217707818</c:v>
                </c:pt>
                <c:pt idx="634">
                  <c:v>24.853373185386992</c:v>
                </c:pt>
                <c:pt idx="635">
                  <c:v>29.689434958213493</c:v>
                </c:pt>
                <c:pt idx="636">
                  <c:v>10.153701196856549</c:v>
                </c:pt>
                <c:pt idx="637">
                  <c:v>28.554855421302214</c:v>
                </c:pt>
                <c:pt idx="638">
                  <c:v>28.987883364514399</c:v>
                </c:pt>
                <c:pt idx="639">
                  <c:v>3.3262697959538987</c:v>
                </c:pt>
                <c:pt idx="640">
                  <c:v>1.1932115344479421</c:v>
                </c:pt>
                <c:pt idx="641">
                  <c:v>0.51634326101495032</c:v>
                </c:pt>
                <c:pt idx="642">
                  <c:v>0.15849612951612518</c:v>
                </c:pt>
                <c:pt idx="643">
                  <c:v>-0.73638117583508444</c:v>
                </c:pt>
                <c:pt idx="644">
                  <c:v>-1.2853425242499681</c:v>
                </c:pt>
                <c:pt idx="645">
                  <c:v>-1.2957290815300082</c:v>
                </c:pt>
                <c:pt idx="646">
                  <c:v>-1.5853768293697879</c:v>
                </c:pt>
                <c:pt idx="647">
                  <c:v>-1.6839468865146319</c:v>
                </c:pt>
                <c:pt idx="648">
                  <c:v>-1.7301843235544661</c:v>
                </c:pt>
                <c:pt idx="649">
                  <c:v>-1.7997363207603299</c:v>
                </c:pt>
                <c:pt idx="650">
                  <c:v>-2.1179310457635219</c:v>
                </c:pt>
                <c:pt idx="651">
                  <c:v>-2.17595979982941</c:v>
                </c:pt>
                <c:pt idx="652">
                  <c:v>-2.1304615194512397</c:v>
                </c:pt>
                <c:pt idx="653">
                  <c:v>-2.1562616234883527</c:v>
                </c:pt>
                <c:pt idx="654">
                  <c:v>-2.5276584792952241</c:v>
                </c:pt>
                <c:pt idx="655">
                  <c:v>-2.4997369958208271</c:v>
                </c:pt>
                <c:pt idx="656">
                  <c:v>-2.5283050832498892</c:v>
                </c:pt>
                <c:pt idx="657">
                  <c:v>-2.4381985735779388</c:v>
                </c:pt>
                <c:pt idx="658">
                  <c:v>-2.3640098071634807</c:v>
                </c:pt>
                <c:pt idx="659">
                  <c:v>-2.693675548911393</c:v>
                </c:pt>
                <c:pt idx="660">
                  <c:v>-2.5311892882822082</c:v>
                </c:pt>
                <c:pt idx="661">
                  <c:v>-2.5242338471585932</c:v>
                </c:pt>
                <c:pt idx="662">
                  <c:v>-2.1645602735826195</c:v>
                </c:pt>
                <c:pt idx="663">
                  <c:v>-1.7988317336046098</c:v>
                </c:pt>
                <c:pt idx="664">
                  <c:v>-1.669274621604576</c:v>
                </c:pt>
                <c:pt idx="665">
                  <c:v>-1.525791095224915</c:v>
                </c:pt>
                <c:pt idx="666">
                  <c:v>-1.423031960954547</c:v>
                </c:pt>
                <c:pt idx="667">
                  <c:v>-1.1209105198912515</c:v>
                </c:pt>
                <c:pt idx="668">
                  <c:v>-1.0461745920194734</c:v>
                </c:pt>
                <c:pt idx="669">
                  <c:v>-0.84854928405681262</c:v>
                </c:pt>
                <c:pt idx="670">
                  <c:v>-0.68900328079746576</c:v>
                </c:pt>
                <c:pt idx="671">
                  <c:v>-0.58698938164972769</c:v>
                </c:pt>
                <c:pt idx="672">
                  <c:v>-0.23589731878540002</c:v>
                </c:pt>
                <c:pt idx="673">
                  <c:v>-0.10951412587956685</c:v>
                </c:pt>
                <c:pt idx="674">
                  <c:v>0.13792735844603188</c:v>
                </c:pt>
                <c:pt idx="675">
                  <c:v>0.33677111036683183</c:v>
                </c:pt>
                <c:pt idx="676">
                  <c:v>0.3647988957181299</c:v>
                </c:pt>
                <c:pt idx="677">
                  <c:v>0.44260207651537475</c:v>
                </c:pt>
                <c:pt idx="678">
                  <c:v>0.51151443132152596</c:v>
                </c:pt>
                <c:pt idx="679">
                  <c:v>0.56410883598448036</c:v>
                </c:pt>
                <c:pt idx="680">
                  <c:v>0.6009097438047859</c:v>
                </c:pt>
                <c:pt idx="681">
                  <c:v>0.65782926794569585</c:v>
                </c:pt>
                <c:pt idx="682">
                  <c:v>0.71174122477344248</c:v>
                </c:pt>
                <c:pt idx="683">
                  <c:v>0.70441506244222707</c:v>
                </c:pt>
                <c:pt idx="684">
                  <c:v>0.8116974524133943</c:v>
                </c:pt>
                <c:pt idx="685">
                  <c:v>0.79820557741529863</c:v>
                </c:pt>
                <c:pt idx="686">
                  <c:v>0.86898810774403068</c:v>
                </c:pt>
                <c:pt idx="687">
                  <c:v>0.85570537341530173</c:v>
                </c:pt>
                <c:pt idx="688">
                  <c:v>0.91778599120413862</c:v>
                </c:pt>
                <c:pt idx="689">
                  <c:v>0.90905131101479864</c:v>
                </c:pt>
                <c:pt idx="690">
                  <c:v>0.99873844796059863</c:v>
                </c:pt>
                <c:pt idx="691">
                  <c:v>0.98126908758191744</c:v>
                </c:pt>
                <c:pt idx="692">
                  <c:v>1.053486864149034</c:v>
                </c:pt>
                <c:pt idx="693">
                  <c:v>1.0447521839596929</c:v>
                </c:pt>
                <c:pt idx="694">
                  <c:v>1.1169699605268129</c:v>
                </c:pt>
                <c:pt idx="695">
                  <c:v>1.2134535568115081</c:v>
                </c:pt>
                <c:pt idx="696">
                  <c:v>1.0802144591713261</c:v>
                </c:pt>
                <c:pt idx="697">
                  <c:v>1.2009122090060591</c:v>
                </c:pt>
                <c:pt idx="698">
                  <c:v>1.2500817468484391</c:v>
                </c:pt>
                <c:pt idx="699">
                  <c:v>1.441496524102905</c:v>
                </c:pt>
                <c:pt idx="700">
                  <c:v>1.3584228176845199</c:v>
                </c:pt>
                <c:pt idx="701">
                  <c:v>1.5238114428144507</c:v>
                </c:pt>
                <c:pt idx="702">
                  <c:v>1.5556793754595242</c:v>
                </c:pt>
                <c:pt idx="703">
                  <c:v>18.908413813055066</c:v>
                </c:pt>
                <c:pt idx="704">
                  <c:v>17.371120040325284</c:v>
                </c:pt>
                <c:pt idx="705">
                  <c:v>15.496436695636007</c:v>
                </c:pt>
                <c:pt idx="706">
                  <c:v>14.132164336345987</c:v>
                </c:pt>
                <c:pt idx="707">
                  <c:v>10.889163655505277</c:v>
                </c:pt>
                <c:pt idx="708">
                  <c:v>8.9474939100088005</c:v>
                </c:pt>
                <c:pt idx="709">
                  <c:v>7.7787196008559691</c:v>
                </c:pt>
                <c:pt idx="710">
                  <c:v>6.8509629182228897</c:v>
                </c:pt>
                <c:pt idx="711">
                  <c:v>6.7376549896086884</c:v>
                </c:pt>
                <c:pt idx="712">
                  <c:v>4.0490766552878013</c:v>
                </c:pt>
                <c:pt idx="713">
                  <c:v>2.5134297066878037</c:v>
                </c:pt>
                <c:pt idx="714">
                  <c:v>2.2454153198887301</c:v>
                </c:pt>
                <c:pt idx="715">
                  <c:v>1.2295928463396801</c:v>
                </c:pt>
                <c:pt idx="716">
                  <c:v>-0.15404728003296386</c:v>
                </c:pt>
                <c:pt idx="717">
                  <c:v>-0.61306854956334977</c:v>
                </c:pt>
                <c:pt idx="718">
                  <c:v>-0.699453962019425</c:v>
                </c:pt>
                <c:pt idx="719">
                  <c:v>-0.90829547588087323</c:v>
                </c:pt>
                <c:pt idx="720">
                  <c:v>-0.74236105457977675</c:v>
                </c:pt>
                <c:pt idx="721">
                  <c:v>18.530016555403289</c:v>
                </c:pt>
                <c:pt idx="722">
                  <c:v>28.758010343182509</c:v>
                </c:pt>
                <c:pt idx="723">
                  <c:v>8.5325353637000347</c:v>
                </c:pt>
                <c:pt idx="724">
                  <c:v>29.548368739781289</c:v>
                </c:pt>
                <c:pt idx="725">
                  <c:v>11.237577755100732</c:v>
                </c:pt>
                <c:pt idx="726">
                  <c:v>25.978088481967621</c:v>
                </c:pt>
                <c:pt idx="727">
                  <c:v>28.706573064355119</c:v>
                </c:pt>
                <c:pt idx="728">
                  <c:v>8.4404095460459523</c:v>
                </c:pt>
                <c:pt idx="729">
                  <c:v>29.298221622860829</c:v>
                </c:pt>
                <c:pt idx="730">
                  <c:v>14.036643452872868</c:v>
                </c:pt>
                <c:pt idx="731">
                  <c:v>23.201391585401669</c:v>
                </c:pt>
                <c:pt idx="732">
                  <c:v>29.264260231641845</c:v>
                </c:pt>
                <c:pt idx="733">
                  <c:v>7.5856221337824312</c:v>
                </c:pt>
                <c:pt idx="734">
                  <c:v>28.315751675890091</c:v>
                </c:pt>
                <c:pt idx="735">
                  <c:v>9.7067906104726127</c:v>
                </c:pt>
                <c:pt idx="736">
                  <c:v>27.440733221349152</c:v>
                </c:pt>
                <c:pt idx="737">
                  <c:v>29.692422500017614</c:v>
                </c:pt>
                <c:pt idx="738">
                  <c:v>8.3948292926144656</c:v>
                </c:pt>
                <c:pt idx="739">
                  <c:v>30.191291210217791</c:v>
                </c:pt>
                <c:pt idx="740">
                  <c:v>2.1099377871001432</c:v>
                </c:pt>
                <c:pt idx="741">
                  <c:v>0.19193397628452497</c:v>
                </c:pt>
                <c:pt idx="742">
                  <c:v>0.2301571548789581</c:v>
                </c:pt>
                <c:pt idx="743">
                  <c:v>0.20651126414848711</c:v>
                </c:pt>
                <c:pt idx="744">
                  <c:v>0.16579236146445844</c:v>
                </c:pt>
                <c:pt idx="745">
                  <c:v>0.18363992166951668</c:v>
                </c:pt>
                <c:pt idx="746">
                  <c:v>0.2546414678997298</c:v>
                </c:pt>
                <c:pt idx="747">
                  <c:v>9.0958042889019874E-2</c:v>
                </c:pt>
                <c:pt idx="748">
                  <c:v>2.7741958417937277E-3</c:v>
                </c:pt>
                <c:pt idx="749">
                  <c:v>6.3962056106452563</c:v>
                </c:pt>
                <c:pt idx="750">
                  <c:v>28.752774211523317</c:v>
                </c:pt>
                <c:pt idx="751">
                  <c:v>27.765621219078625</c:v>
                </c:pt>
                <c:pt idx="752">
                  <c:v>6.2476147599443053</c:v>
                </c:pt>
                <c:pt idx="753">
                  <c:v>27.253102627520647</c:v>
                </c:pt>
                <c:pt idx="754">
                  <c:v>8.4735105286741064</c:v>
                </c:pt>
                <c:pt idx="755">
                  <c:v>5.5400242733925555</c:v>
                </c:pt>
                <c:pt idx="756">
                  <c:v>14.193256765210268</c:v>
                </c:pt>
                <c:pt idx="757">
                  <c:v>15.984589213250898</c:v>
                </c:pt>
                <c:pt idx="758">
                  <c:v>15.736294668293162</c:v>
                </c:pt>
                <c:pt idx="759">
                  <c:v>9.7457975082799242E-2</c:v>
                </c:pt>
                <c:pt idx="760">
                  <c:v>0.1350868161160162</c:v>
                </c:pt>
                <c:pt idx="761">
                  <c:v>-0.53265287152647778</c:v>
                </c:pt>
                <c:pt idx="762">
                  <c:v>-0.92489550411428889</c:v>
                </c:pt>
                <c:pt idx="763">
                  <c:v>-0.82017595694379586</c:v>
                </c:pt>
                <c:pt idx="764">
                  <c:v>-0.61305658877969849</c:v>
                </c:pt>
                <c:pt idx="765">
                  <c:v>-0.60972495701087315</c:v>
                </c:pt>
                <c:pt idx="766">
                  <c:v>-0.50673779521065732</c:v>
                </c:pt>
                <c:pt idx="767">
                  <c:v>-0.50507197932624459</c:v>
                </c:pt>
                <c:pt idx="768">
                  <c:v>-0.50340616344183087</c:v>
                </c:pt>
                <c:pt idx="769">
                  <c:v>-0.29462097939331516</c:v>
                </c:pt>
                <c:pt idx="770">
                  <c:v>-2.1442430730478648E-2</c:v>
                </c:pt>
                <c:pt idx="771">
                  <c:v>2.1628042787913197E-2</c:v>
                </c:pt>
                <c:pt idx="772">
                  <c:v>0.13408932857387601</c:v>
                </c:pt>
                <c:pt idx="773">
                  <c:v>0.30313567087282489</c:v>
                </c:pt>
                <c:pt idx="774">
                  <c:v>0.39382468352350186</c:v>
                </c:pt>
                <c:pt idx="775">
                  <c:v>0.44867328474373486</c:v>
                </c:pt>
                <c:pt idx="776">
                  <c:v>0.44867328474373486</c:v>
                </c:pt>
                <c:pt idx="777">
                  <c:v>0.48241952402833627</c:v>
                </c:pt>
                <c:pt idx="778">
                  <c:v>0.54459428757978923</c:v>
                </c:pt>
                <c:pt idx="779">
                  <c:v>0.60103605949351246</c:v>
                </c:pt>
                <c:pt idx="780">
                  <c:v>0.64455051521973694</c:v>
                </c:pt>
                <c:pt idx="781">
                  <c:v>0.70672527877118796</c:v>
                </c:pt>
                <c:pt idx="782">
                  <c:v>0.70428322466078352</c:v>
                </c:pt>
                <c:pt idx="783">
                  <c:v>0.7607249965745092</c:v>
                </c:pt>
                <c:pt idx="784">
                  <c:v>0.80753038982805436</c:v>
                </c:pt>
                <c:pt idx="785">
                  <c:v>0.87129832407299168</c:v>
                </c:pt>
                <c:pt idx="786">
                  <c:v>0.87129832407299168</c:v>
                </c:pt>
                <c:pt idx="787">
                  <c:v>0.93018215009712091</c:v>
                </c:pt>
                <c:pt idx="788">
                  <c:v>0.9761386599337557</c:v>
                </c:pt>
                <c:pt idx="789">
                  <c:v>0.97125455171294273</c:v>
                </c:pt>
                <c:pt idx="790">
                  <c:v>1.035871369374797</c:v>
                </c:pt>
                <c:pt idx="791">
                  <c:v>1.0309872611539841</c:v>
                </c:pt>
                <c:pt idx="792">
                  <c:v>1.0825449248469006</c:v>
                </c:pt>
                <c:pt idx="793">
                  <c:v>1.162039477017111</c:v>
                </c:pt>
                <c:pt idx="794">
                  <c:v>1.251759149048018</c:v>
                </c:pt>
                <c:pt idx="795">
                  <c:v>1.259328240700728</c:v>
                </c:pt>
                <c:pt idx="796">
                  <c:v>1.3456074112897931</c:v>
                </c:pt>
                <c:pt idx="797">
                  <c:v>1.2878853053168029</c:v>
                </c:pt>
                <c:pt idx="798">
                  <c:v>1.2365753542336919</c:v>
                </c:pt>
                <c:pt idx="799">
                  <c:v>20.095808262809811</c:v>
                </c:pt>
                <c:pt idx="800">
                  <c:v>19.802073746839326</c:v>
                </c:pt>
                <c:pt idx="801">
                  <c:v>18.555550799969829</c:v>
                </c:pt>
                <c:pt idx="802">
                  <c:v>17.285985597950592</c:v>
                </c:pt>
                <c:pt idx="803">
                  <c:v>15.78386357412167</c:v>
                </c:pt>
                <c:pt idx="804">
                  <c:v>14.119804545031014</c:v>
                </c:pt>
                <c:pt idx="805">
                  <c:v>12.02679082412447</c:v>
                </c:pt>
                <c:pt idx="806">
                  <c:v>8.763275204619319</c:v>
                </c:pt>
                <c:pt idx="807">
                  <c:v>7.9637700353041145</c:v>
                </c:pt>
                <c:pt idx="808">
                  <c:v>8.1549258023445219</c:v>
                </c:pt>
                <c:pt idx="809">
                  <c:v>6.9708648070255705</c:v>
                </c:pt>
                <c:pt idx="810">
                  <c:v>4.7539309486927701</c:v>
                </c:pt>
                <c:pt idx="811">
                  <c:v>2.2956728461534741</c:v>
                </c:pt>
                <c:pt idx="812">
                  <c:v>4.8030725885644374</c:v>
                </c:pt>
                <c:pt idx="813">
                  <c:v>28.612703174993896</c:v>
                </c:pt>
                <c:pt idx="814">
                  <c:v>14.790046433718469</c:v>
                </c:pt>
                <c:pt idx="815">
                  <c:v>12.045780527566057</c:v>
                </c:pt>
                <c:pt idx="816">
                  <c:v>31.693299010187957</c:v>
                </c:pt>
                <c:pt idx="817">
                  <c:v>31.241332866683273</c:v>
                </c:pt>
                <c:pt idx="818">
                  <c:v>10.59510875225561</c:v>
                </c:pt>
                <c:pt idx="819">
                  <c:v>32.100625815564449</c:v>
                </c:pt>
                <c:pt idx="820">
                  <c:v>31.376218596719188</c:v>
                </c:pt>
                <c:pt idx="821">
                  <c:v>11.363384661865958</c:v>
                </c:pt>
                <c:pt idx="822">
                  <c:v>30.870155871560854</c:v>
                </c:pt>
                <c:pt idx="823">
                  <c:v>10.828846902446067</c:v>
                </c:pt>
                <c:pt idx="824">
                  <c:v>30.293597490255362</c:v>
                </c:pt>
                <c:pt idx="825">
                  <c:v>31.529525472357719</c:v>
                </c:pt>
                <c:pt idx="826">
                  <c:v>10.645449293912952</c:v>
                </c:pt>
                <c:pt idx="827">
                  <c:v>32.087523441835877</c:v>
                </c:pt>
                <c:pt idx="828">
                  <c:v>31.657362393959115</c:v>
                </c:pt>
                <c:pt idx="829">
                  <c:v>30.843697823796628</c:v>
                </c:pt>
                <c:pt idx="830">
                  <c:v>10.781408235872792</c:v>
                </c:pt>
                <c:pt idx="831">
                  <c:v>30.986007677504805</c:v>
                </c:pt>
                <c:pt idx="832">
                  <c:v>29.998123478610747</c:v>
                </c:pt>
                <c:pt idx="833">
                  <c:v>11.009492995486761</c:v>
                </c:pt>
                <c:pt idx="834">
                  <c:v>30.419268489480324</c:v>
                </c:pt>
                <c:pt idx="835">
                  <c:v>29.982007848744619</c:v>
                </c:pt>
                <c:pt idx="836">
                  <c:v>1.9491410006058441</c:v>
                </c:pt>
                <c:pt idx="837">
                  <c:v>0.40282197929843977</c:v>
                </c:pt>
                <c:pt idx="838">
                  <c:v>0.21331540518876269</c:v>
                </c:pt>
                <c:pt idx="839">
                  <c:v>0.18397213592966091</c:v>
                </c:pt>
                <c:pt idx="840">
                  <c:v>6.4559211598640892E-2</c:v>
                </c:pt>
                <c:pt idx="841">
                  <c:v>0.12207818435879178</c:v>
                </c:pt>
                <c:pt idx="842">
                  <c:v>4.3627717804360401E-2</c:v>
                </c:pt>
                <c:pt idx="843">
                  <c:v>-4.1311669078601884E-2</c:v>
                </c:pt>
                <c:pt idx="844">
                  <c:v>-0.11069401452828626</c:v>
                </c:pt>
                <c:pt idx="845">
                  <c:v>7.4335892061544202</c:v>
                </c:pt>
                <c:pt idx="846">
                  <c:v>29.265914651439935</c:v>
                </c:pt>
                <c:pt idx="847">
                  <c:v>28.200109051338167</c:v>
                </c:pt>
                <c:pt idx="848">
                  <c:v>11.288114120418443</c:v>
                </c:pt>
                <c:pt idx="849">
                  <c:v>6.9853564889744604</c:v>
                </c:pt>
                <c:pt idx="850">
                  <c:v>27.311970963282654</c:v>
                </c:pt>
                <c:pt idx="851">
                  <c:v>7.995528405225599</c:v>
                </c:pt>
                <c:pt idx="852">
                  <c:v>6.0031403329089699</c:v>
                </c:pt>
                <c:pt idx="853">
                  <c:v>15.106441069700542</c:v>
                </c:pt>
                <c:pt idx="854">
                  <c:v>16.956536196338735</c:v>
                </c:pt>
                <c:pt idx="855">
                  <c:v>0.12676988079043769</c:v>
                </c:pt>
                <c:pt idx="856">
                  <c:v>0.76859346670898565</c:v>
                </c:pt>
                <c:pt idx="857">
                  <c:v>-0.42365720104752241</c:v>
                </c:pt>
                <c:pt idx="858">
                  <c:v>-0.93392290672311284</c:v>
                </c:pt>
                <c:pt idx="859">
                  <c:v>-1.1390517065505319</c:v>
                </c:pt>
                <c:pt idx="860">
                  <c:v>-1.3049505501032461</c:v>
                </c:pt>
                <c:pt idx="861">
                  <c:v>-1.0961653660547339</c:v>
                </c:pt>
                <c:pt idx="862">
                  <c:v>-0.92711902375578725</c:v>
                </c:pt>
                <c:pt idx="863">
                  <c:v>-0.88571436612180499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4(KPI1(0.25)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D$2:$D$865</c:f>
              <c:numCache>
                <c:formatCode>General</c:formatCode>
                <c:ptCount val="864"/>
                <c:pt idx="0">
                  <c:v>0.11333333333333738</c:v>
                </c:pt>
                <c:pt idx="1">
                  <c:v>0.11333333333333738</c:v>
                </c:pt>
                <c:pt idx="2">
                  <c:v>0.11333333333333738</c:v>
                </c:pt>
                <c:pt idx="3">
                  <c:v>0.15383086604193341</c:v>
                </c:pt>
                <c:pt idx="4">
                  <c:v>0.15383086604193341</c:v>
                </c:pt>
                <c:pt idx="5">
                  <c:v>0.15383086604193341</c:v>
                </c:pt>
                <c:pt idx="6">
                  <c:v>0.15383086604193341</c:v>
                </c:pt>
                <c:pt idx="7">
                  <c:v>0.15383086604193341</c:v>
                </c:pt>
                <c:pt idx="8">
                  <c:v>0.15383086604193341</c:v>
                </c:pt>
                <c:pt idx="9">
                  <c:v>0.15383086604193341</c:v>
                </c:pt>
                <c:pt idx="10">
                  <c:v>0.15383086604193341</c:v>
                </c:pt>
                <c:pt idx="11">
                  <c:v>0.15383086604193341</c:v>
                </c:pt>
                <c:pt idx="12">
                  <c:v>0.15383086604193341</c:v>
                </c:pt>
                <c:pt idx="13">
                  <c:v>0.15383086604193341</c:v>
                </c:pt>
                <c:pt idx="14">
                  <c:v>0.15383086604193341</c:v>
                </c:pt>
                <c:pt idx="15">
                  <c:v>0.15383086604193341</c:v>
                </c:pt>
                <c:pt idx="16">
                  <c:v>0.15383086604193341</c:v>
                </c:pt>
                <c:pt idx="17">
                  <c:v>0.15383086604193341</c:v>
                </c:pt>
                <c:pt idx="18">
                  <c:v>0.15383086604193341</c:v>
                </c:pt>
                <c:pt idx="19">
                  <c:v>0.15383086604193341</c:v>
                </c:pt>
                <c:pt idx="20">
                  <c:v>0.15383086604193341</c:v>
                </c:pt>
                <c:pt idx="21">
                  <c:v>0.15383086604193341</c:v>
                </c:pt>
                <c:pt idx="22">
                  <c:v>0.15383086604193341</c:v>
                </c:pt>
                <c:pt idx="23">
                  <c:v>0.12996392217498531</c:v>
                </c:pt>
                <c:pt idx="24">
                  <c:v>0.12996392217498531</c:v>
                </c:pt>
                <c:pt idx="25">
                  <c:v>0.12996392217498531</c:v>
                </c:pt>
                <c:pt idx="26">
                  <c:v>0.12996392217498531</c:v>
                </c:pt>
                <c:pt idx="27">
                  <c:v>0.12996392217498531</c:v>
                </c:pt>
                <c:pt idx="28">
                  <c:v>0.12996392217498531</c:v>
                </c:pt>
                <c:pt idx="29">
                  <c:v>0.12996392217498531</c:v>
                </c:pt>
                <c:pt idx="30">
                  <c:v>0.12996392217498531</c:v>
                </c:pt>
                <c:pt idx="31">
                  <c:v>16.235606920022686</c:v>
                </c:pt>
                <c:pt idx="32">
                  <c:v>16.235606920022686</c:v>
                </c:pt>
                <c:pt idx="33">
                  <c:v>16.235606920022686</c:v>
                </c:pt>
                <c:pt idx="34">
                  <c:v>16.235606920022686</c:v>
                </c:pt>
                <c:pt idx="35">
                  <c:v>16.235606920022686</c:v>
                </c:pt>
                <c:pt idx="36">
                  <c:v>16.235606920022686</c:v>
                </c:pt>
                <c:pt idx="37">
                  <c:v>16.235606920022686</c:v>
                </c:pt>
                <c:pt idx="38">
                  <c:v>16.235606920022686</c:v>
                </c:pt>
                <c:pt idx="39">
                  <c:v>16.235606920022686</c:v>
                </c:pt>
                <c:pt idx="40">
                  <c:v>16.235606920022686</c:v>
                </c:pt>
                <c:pt idx="41">
                  <c:v>4.1598989898989895</c:v>
                </c:pt>
                <c:pt idx="42">
                  <c:v>5.6396608946609001</c:v>
                </c:pt>
                <c:pt idx="43">
                  <c:v>5.6396608946609001</c:v>
                </c:pt>
                <c:pt idx="44">
                  <c:v>5.6396608946609001</c:v>
                </c:pt>
                <c:pt idx="45">
                  <c:v>29.180394298793157</c:v>
                </c:pt>
                <c:pt idx="46">
                  <c:v>5.6396608946609001</c:v>
                </c:pt>
                <c:pt idx="47">
                  <c:v>5.6396608946609001</c:v>
                </c:pt>
                <c:pt idx="48">
                  <c:v>29.180394298793157</c:v>
                </c:pt>
                <c:pt idx="49">
                  <c:v>5.6396608946609001</c:v>
                </c:pt>
                <c:pt idx="50">
                  <c:v>29.180394298793157</c:v>
                </c:pt>
                <c:pt idx="51">
                  <c:v>29.180394298793157</c:v>
                </c:pt>
                <c:pt idx="52">
                  <c:v>5.6396608946609001</c:v>
                </c:pt>
                <c:pt idx="53">
                  <c:v>29.180394298793157</c:v>
                </c:pt>
                <c:pt idx="54">
                  <c:v>5.6396608946609001</c:v>
                </c:pt>
                <c:pt idx="55">
                  <c:v>5.6396608946609001</c:v>
                </c:pt>
                <c:pt idx="56">
                  <c:v>29.889556819522841</c:v>
                </c:pt>
                <c:pt idx="57">
                  <c:v>29.889556819522841</c:v>
                </c:pt>
                <c:pt idx="58">
                  <c:v>5.6396608946609001</c:v>
                </c:pt>
                <c:pt idx="59">
                  <c:v>29.889556819522841</c:v>
                </c:pt>
                <c:pt idx="60">
                  <c:v>29.889556819522841</c:v>
                </c:pt>
                <c:pt idx="61">
                  <c:v>29.889556819522841</c:v>
                </c:pt>
                <c:pt idx="62">
                  <c:v>5.6396608946609001</c:v>
                </c:pt>
                <c:pt idx="63">
                  <c:v>29.889556819522841</c:v>
                </c:pt>
                <c:pt idx="64">
                  <c:v>29.889556819522841</c:v>
                </c:pt>
                <c:pt idx="65">
                  <c:v>5.6396608946609001</c:v>
                </c:pt>
                <c:pt idx="66">
                  <c:v>29.889556819522841</c:v>
                </c:pt>
                <c:pt idx="67">
                  <c:v>29.180394298793157</c:v>
                </c:pt>
                <c:pt idx="68">
                  <c:v>0</c:v>
                </c:pt>
                <c:pt idx="69">
                  <c:v>0</c:v>
                </c:pt>
                <c:pt idx="70">
                  <c:v>6.197305764411027</c:v>
                </c:pt>
                <c:pt idx="71">
                  <c:v>6.197305764411027</c:v>
                </c:pt>
                <c:pt idx="72">
                  <c:v>6.197305764411027</c:v>
                </c:pt>
                <c:pt idx="73">
                  <c:v>6.197305764411027</c:v>
                </c:pt>
                <c:pt idx="74">
                  <c:v>6.197305764411027</c:v>
                </c:pt>
                <c:pt idx="75">
                  <c:v>6.197305764411027</c:v>
                </c:pt>
                <c:pt idx="76">
                  <c:v>6.197305764411027</c:v>
                </c:pt>
                <c:pt idx="77">
                  <c:v>12.845454545454547</c:v>
                </c:pt>
                <c:pt idx="78">
                  <c:v>29.180394298793157</c:v>
                </c:pt>
                <c:pt idx="79">
                  <c:v>24.654931335830224</c:v>
                </c:pt>
                <c:pt idx="80">
                  <c:v>9.7376767676767599</c:v>
                </c:pt>
                <c:pt idx="81">
                  <c:v>9.7376767676767599</c:v>
                </c:pt>
                <c:pt idx="82">
                  <c:v>16.469715447154471</c:v>
                </c:pt>
                <c:pt idx="83">
                  <c:v>6.4598989898989911</c:v>
                </c:pt>
                <c:pt idx="84">
                  <c:v>16.469715447154471</c:v>
                </c:pt>
                <c:pt idx="85">
                  <c:v>16.469715447154471</c:v>
                </c:pt>
                <c:pt idx="86">
                  <c:v>16.469715447154471</c:v>
                </c:pt>
                <c:pt idx="87">
                  <c:v>0.15383086604193341</c:v>
                </c:pt>
                <c:pt idx="88">
                  <c:v>0.15383086604193341</c:v>
                </c:pt>
                <c:pt idx="89">
                  <c:v>0.15383086604193341</c:v>
                </c:pt>
                <c:pt idx="90">
                  <c:v>0.15383086604193341</c:v>
                </c:pt>
                <c:pt idx="91">
                  <c:v>0.15383086604193341</c:v>
                </c:pt>
                <c:pt idx="92">
                  <c:v>0.15383086604193341</c:v>
                </c:pt>
                <c:pt idx="93">
                  <c:v>0.15383086604193341</c:v>
                </c:pt>
                <c:pt idx="94">
                  <c:v>0.15383086604193341</c:v>
                </c:pt>
                <c:pt idx="95">
                  <c:v>0.15383086604193341</c:v>
                </c:pt>
                <c:pt idx="96">
                  <c:v>0.15383086604193341</c:v>
                </c:pt>
                <c:pt idx="97">
                  <c:v>0.15383086604193341</c:v>
                </c:pt>
                <c:pt idx="98">
                  <c:v>0.15383086604193341</c:v>
                </c:pt>
                <c:pt idx="99">
                  <c:v>0.16605308826415188</c:v>
                </c:pt>
                <c:pt idx="100">
                  <c:v>0.16605308826415188</c:v>
                </c:pt>
                <c:pt idx="101">
                  <c:v>0.16605308826415188</c:v>
                </c:pt>
                <c:pt idx="102">
                  <c:v>0.16605308826415188</c:v>
                </c:pt>
                <c:pt idx="103">
                  <c:v>0.16605308826415188</c:v>
                </c:pt>
                <c:pt idx="104">
                  <c:v>0.16605308826415188</c:v>
                </c:pt>
                <c:pt idx="105">
                  <c:v>0.16605308826415188</c:v>
                </c:pt>
                <c:pt idx="106">
                  <c:v>0.16605308826415188</c:v>
                </c:pt>
                <c:pt idx="107">
                  <c:v>0.16605308826415188</c:v>
                </c:pt>
                <c:pt idx="108">
                  <c:v>0.16605308826415188</c:v>
                </c:pt>
                <c:pt idx="109">
                  <c:v>0.16605308826415188</c:v>
                </c:pt>
                <c:pt idx="110">
                  <c:v>0.16605308826415188</c:v>
                </c:pt>
                <c:pt idx="111">
                  <c:v>0.16605308826415188</c:v>
                </c:pt>
                <c:pt idx="112">
                  <c:v>0.16605308826415188</c:v>
                </c:pt>
                <c:pt idx="113">
                  <c:v>0.16605308826415188</c:v>
                </c:pt>
                <c:pt idx="114">
                  <c:v>0.16605308826415188</c:v>
                </c:pt>
                <c:pt idx="115">
                  <c:v>0.18064768285874241</c:v>
                </c:pt>
                <c:pt idx="116">
                  <c:v>0.18064768285874241</c:v>
                </c:pt>
                <c:pt idx="117">
                  <c:v>0.18064768285874241</c:v>
                </c:pt>
                <c:pt idx="118">
                  <c:v>0.18064768285874241</c:v>
                </c:pt>
                <c:pt idx="119">
                  <c:v>0.18064768285874241</c:v>
                </c:pt>
                <c:pt idx="120">
                  <c:v>0.18064768285874241</c:v>
                </c:pt>
                <c:pt idx="121">
                  <c:v>0.11842546063652006</c:v>
                </c:pt>
                <c:pt idx="122">
                  <c:v>0.11842546063652006</c:v>
                </c:pt>
                <c:pt idx="123">
                  <c:v>0.11842546063652006</c:v>
                </c:pt>
                <c:pt idx="124">
                  <c:v>0.11842546063652006</c:v>
                </c:pt>
                <c:pt idx="125">
                  <c:v>7.9963922174981411E-2</c:v>
                </c:pt>
                <c:pt idx="126">
                  <c:v>7.9963922174981411E-2</c:v>
                </c:pt>
                <c:pt idx="127">
                  <c:v>16.235606920022686</c:v>
                </c:pt>
                <c:pt idx="128">
                  <c:v>16.235606920022686</c:v>
                </c:pt>
                <c:pt idx="129">
                  <c:v>16.235606920022686</c:v>
                </c:pt>
                <c:pt idx="130">
                  <c:v>16.235606920022686</c:v>
                </c:pt>
                <c:pt idx="131">
                  <c:v>16.235606920022686</c:v>
                </c:pt>
                <c:pt idx="132">
                  <c:v>16.235606920022686</c:v>
                </c:pt>
                <c:pt idx="133">
                  <c:v>16.235606920022686</c:v>
                </c:pt>
                <c:pt idx="134">
                  <c:v>16.235606920022686</c:v>
                </c:pt>
                <c:pt idx="135">
                  <c:v>16.235606920022686</c:v>
                </c:pt>
                <c:pt idx="136">
                  <c:v>16.235606920022686</c:v>
                </c:pt>
                <c:pt idx="137">
                  <c:v>16.235606920022686</c:v>
                </c:pt>
                <c:pt idx="138">
                  <c:v>16.235606920022686</c:v>
                </c:pt>
                <c:pt idx="139">
                  <c:v>16.235606920022686</c:v>
                </c:pt>
                <c:pt idx="140">
                  <c:v>16.235606920022686</c:v>
                </c:pt>
                <c:pt idx="141">
                  <c:v>16.235606920022686</c:v>
                </c:pt>
                <c:pt idx="142">
                  <c:v>4.1598989898989895</c:v>
                </c:pt>
                <c:pt idx="143">
                  <c:v>5.6396608946609001</c:v>
                </c:pt>
                <c:pt idx="144">
                  <c:v>5.6396608946609001</c:v>
                </c:pt>
                <c:pt idx="145">
                  <c:v>5.6396608946609001</c:v>
                </c:pt>
                <c:pt idx="146">
                  <c:v>5.6396608946609001</c:v>
                </c:pt>
                <c:pt idx="147">
                  <c:v>29.180394298793157</c:v>
                </c:pt>
                <c:pt idx="148">
                  <c:v>5.6396608946609001</c:v>
                </c:pt>
                <c:pt idx="149">
                  <c:v>5.6396608946609001</c:v>
                </c:pt>
                <c:pt idx="150">
                  <c:v>29.180394298793157</c:v>
                </c:pt>
                <c:pt idx="151">
                  <c:v>5.6396608946609001</c:v>
                </c:pt>
                <c:pt idx="152">
                  <c:v>5.6396608946609001</c:v>
                </c:pt>
                <c:pt idx="153">
                  <c:v>29.180394298793157</c:v>
                </c:pt>
                <c:pt idx="154">
                  <c:v>5.6396608946609001</c:v>
                </c:pt>
                <c:pt idx="155">
                  <c:v>29.180394298793157</c:v>
                </c:pt>
                <c:pt idx="156">
                  <c:v>5.6396608946609001</c:v>
                </c:pt>
                <c:pt idx="157">
                  <c:v>5.6396608946609001</c:v>
                </c:pt>
                <c:pt idx="158">
                  <c:v>29.180394298793157</c:v>
                </c:pt>
                <c:pt idx="159">
                  <c:v>5.6396608946609001</c:v>
                </c:pt>
                <c:pt idx="160">
                  <c:v>29.180394298793157</c:v>
                </c:pt>
                <c:pt idx="161">
                  <c:v>29.180394298793157</c:v>
                </c:pt>
                <c:pt idx="162">
                  <c:v>5.6396608946609001</c:v>
                </c:pt>
                <c:pt idx="163">
                  <c:v>29.180394298793157</c:v>
                </c:pt>
                <c:pt idx="164">
                  <c:v>0</c:v>
                </c:pt>
                <c:pt idx="165">
                  <c:v>0</c:v>
                </c:pt>
                <c:pt idx="166">
                  <c:v>3.0784168755221391</c:v>
                </c:pt>
                <c:pt idx="167">
                  <c:v>6.197305764411027</c:v>
                </c:pt>
                <c:pt idx="168">
                  <c:v>6.197305764411027</c:v>
                </c:pt>
                <c:pt idx="169">
                  <c:v>6.197305764411027</c:v>
                </c:pt>
                <c:pt idx="170">
                  <c:v>6.197305764411027</c:v>
                </c:pt>
                <c:pt idx="171">
                  <c:v>6.197305764411027</c:v>
                </c:pt>
                <c:pt idx="172">
                  <c:v>7.0175438596491215</c:v>
                </c:pt>
                <c:pt idx="173">
                  <c:v>12.856565656565664</c:v>
                </c:pt>
                <c:pt idx="174">
                  <c:v>16.469715447154471</c:v>
                </c:pt>
                <c:pt idx="175">
                  <c:v>16.469715447154471</c:v>
                </c:pt>
                <c:pt idx="176">
                  <c:v>16.469715447154471</c:v>
                </c:pt>
                <c:pt idx="177">
                  <c:v>16.469715447154471</c:v>
                </c:pt>
                <c:pt idx="178">
                  <c:v>16.469715447154471</c:v>
                </c:pt>
                <c:pt idx="179">
                  <c:v>16.469715447154471</c:v>
                </c:pt>
                <c:pt idx="180">
                  <c:v>16.235606920022686</c:v>
                </c:pt>
                <c:pt idx="181">
                  <c:v>16.235606920022686</c:v>
                </c:pt>
                <c:pt idx="182">
                  <c:v>16.235606920022686</c:v>
                </c:pt>
                <c:pt idx="183">
                  <c:v>0.15383086604193341</c:v>
                </c:pt>
                <c:pt idx="184">
                  <c:v>0.15383086604193341</c:v>
                </c:pt>
                <c:pt idx="185">
                  <c:v>0.15383086604193341</c:v>
                </c:pt>
                <c:pt idx="186">
                  <c:v>0.15383086604193341</c:v>
                </c:pt>
                <c:pt idx="187">
                  <c:v>0.15383086604193341</c:v>
                </c:pt>
                <c:pt idx="188">
                  <c:v>0.15383086604193341</c:v>
                </c:pt>
                <c:pt idx="189">
                  <c:v>0.15383086604193341</c:v>
                </c:pt>
                <c:pt idx="190">
                  <c:v>0.15383086604193341</c:v>
                </c:pt>
                <c:pt idx="191">
                  <c:v>0.15383086604193341</c:v>
                </c:pt>
                <c:pt idx="192">
                  <c:v>0.15383086604193341</c:v>
                </c:pt>
                <c:pt idx="193">
                  <c:v>0.16605308826415188</c:v>
                </c:pt>
                <c:pt idx="194">
                  <c:v>0.16605308826415188</c:v>
                </c:pt>
                <c:pt idx="195">
                  <c:v>0.16605308826415188</c:v>
                </c:pt>
                <c:pt idx="196">
                  <c:v>0.16605308826415188</c:v>
                </c:pt>
                <c:pt idx="197">
                  <c:v>0.16605308826415188</c:v>
                </c:pt>
                <c:pt idx="198">
                  <c:v>0.14218614439720395</c:v>
                </c:pt>
                <c:pt idx="199">
                  <c:v>0.14218614439720395</c:v>
                </c:pt>
                <c:pt idx="200">
                  <c:v>0.18064768285874241</c:v>
                </c:pt>
                <c:pt idx="201">
                  <c:v>0.18064768285874241</c:v>
                </c:pt>
                <c:pt idx="202">
                  <c:v>0.18064768285874241</c:v>
                </c:pt>
                <c:pt idx="203">
                  <c:v>0.18064768285874241</c:v>
                </c:pt>
                <c:pt idx="204">
                  <c:v>0.18064768285874241</c:v>
                </c:pt>
                <c:pt idx="205">
                  <c:v>0.18064768285874241</c:v>
                </c:pt>
                <c:pt idx="206">
                  <c:v>0.11842546063652006</c:v>
                </c:pt>
                <c:pt idx="207">
                  <c:v>0.11842546063652006</c:v>
                </c:pt>
                <c:pt idx="208">
                  <c:v>0.11842546063652006</c:v>
                </c:pt>
                <c:pt idx="209">
                  <c:v>0.11842546063652006</c:v>
                </c:pt>
                <c:pt idx="210">
                  <c:v>0.11842546063652006</c:v>
                </c:pt>
                <c:pt idx="211">
                  <c:v>0.11842546063652006</c:v>
                </c:pt>
                <c:pt idx="212">
                  <c:v>0.11842546063652006</c:v>
                </c:pt>
                <c:pt idx="213">
                  <c:v>0.11842546063652006</c:v>
                </c:pt>
                <c:pt idx="214">
                  <c:v>0.11842546063652006</c:v>
                </c:pt>
                <c:pt idx="215">
                  <c:v>7.9963922174981411E-2</c:v>
                </c:pt>
                <c:pt idx="216">
                  <c:v>7.9963922174981411E-2</c:v>
                </c:pt>
                <c:pt idx="217">
                  <c:v>7.9963922174981411E-2</c:v>
                </c:pt>
                <c:pt idx="218">
                  <c:v>7.9963922174981411E-2</c:v>
                </c:pt>
                <c:pt idx="219">
                  <c:v>7.9963922174981411E-2</c:v>
                </c:pt>
                <c:pt idx="220">
                  <c:v>7.9963922174981411E-2</c:v>
                </c:pt>
                <c:pt idx="221">
                  <c:v>7.9963922174981411E-2</c:v>
                </c:pt>
                <c:pt idx="222">
                  <c:v>7.9963922174981411E-2</c:v>
                </c:pt>
                <c:pt idx="223">
                  <c:v>16.235606920022686</c:v>
                </c:pt>
                <c:pt idx="224">
                  <c:v>16.235606920022686</c:v>
                </c:pt>
                <c:pt idx="225">
                  <c:v>16.235606920022686</c:v>
                </c:pt>
                <c:pt idx="226">
                  <c:v>16.235606920022686</c:v>
                </c:pt>
                <c:pt idx="227">
                  <c:v>16.235606920022686</c:v>
                </c:pt>
                <c:pt idx="228">
                  <c:v>16.235606920022686</c:v>
                </c:pt>
                <c:pt idx="229">
                  <c:v>16.235606920022686</c:v>
                </c:pt>
                <c:pt idx="230">
                  <c:v>16.235606920022686</c:v>
                </c:pt>
                <c:pt idx="231">
                  <c:v>16.235606920022686</c:v>
                </c:pt>
                <c:pt idx="232">
                  <c:v>16.235606920022686</c:v>
                </c:pt>
                <c:pt idx="233">
                  <c:v>16.235606920022686</c:v>
                </c:pt>
                <c:pt idx="234">
                  <c:v>16.235606920022686</c:v>
                </c:pt>
                <c:pt idx="235">
                  <c:v>16.235606920022686</c:v>
                </c:pt>
                <c:pt idx="236">
                  <c:v>16.235606920022686</c:v>
                </c:pt>
                <c:pt idx="237">
                  <c:v>16.235606920022686</c:v>
                </c:pt>
                <c:pt idx="238">
                  <c:v>16.235606920022686</c:v>
                </c:pt>
                <c:pt idx="239">
                  <c:v>16.235606920022686</c:v>
                </c:pt>
                <c:pt idx="240">
                  <c:v>16.235606920022686</c:v>
                </c:pt>
                <c:pt idx="241">
                  <c:v>4.1598989898989895</c:v>
                </c:pt>
                <c:pt idx="242">
                  <c:v>6.4598989898989911</c:v>
                </c:pt>
                <c:pt idx="243">
                  <c:v>6.4598989898989911</c:v>
                </c:pt>
                <c:pt idx="244">
                  <c:v>6.4598989898989911</c:v>
                </c:pt>
                <c:pt idx="245">
                  <c:v>5.6396608946609001</c:v>
                </c:pt>
                <c:pt idx="246">
                  <c:v>24.654931335830224</c:v>
                </c:pt>
                <c:pt idx="247">
                  <c:v>9.7376767676767599</c:v>
                </c:pt>
                <c:pt idx="248">
                  <c:v>9.7376767676767599</c:v>
                </c:pt>
                <c:pt idx="249">
                  <c:v>9.7376767676767599</c:v>
                </c:pt>
                <c:pt idx="250">
                  <c:v>24.654931335830224</c:v>
                </c:pt>
                <c:pt idx="251">
                  <c:v>29.180394298793157</c:v>
                </c:pt>
                <c:pt idx="252">
                  <c:v>5.6396608946609001</c:v>
                </c:pt>
                <c:pt idx="253">
                  <c:v>6.4598989898989911</c:v>
                </c:pt>
                <c:pt idx="254">
                  <c:v>24.654931335830224</c:v>
                </c:pt>
                <c:pt idx="255">
                  <c:v>5.6396608946609001</c:v>
                </c:pt>
                <c:pt idx="256">
                  <c:v>5.6396608946609001</c:v>
                </c:pt>
                <c:pt idx="257">
                  <c:v>29.180394298793157</c:v>
                </c:pt>
                <c:pt idx="258">
                  <c:v>5.6396608946609001</c:v>
                </c:pt>
                <c:pt idx="259">
                  <c:v>5.6396608946609001</c:v>
                </c:pt>
                <c:pt idx="260">
                  <c:v>3.0784168755221391</c:v>
                </c:pt>
                <c:pt idx="261">
                  <c:v>3.0784168755221391</c:v>
                </c:pt>
                <c:pt idx="262">
                  <c:v>3.0784168755221391</c:v>
                </c:pt>
                <c:pt idx="263">
                  <c:v>3.0784168755221391</c:v>
                </c:pt>
                <c:pt idx="264">
                  <c:v>6.197305764411027</c:v>
                </c:pt>
                <c:pt idx="265">
                  <c:v>6.197305764411027</c:v>
                </c:pt>
                <c:pt idx="266">
                  <c:v>6.197305764411027</c:v>
                </c:pt>
                <c:pt idx="267">
                  <c:v>6.197305764411027</c:v>
                </c:pt>
                <c:pt idx="268">
                  <c:v>3.0784168755221391</c:v>
                </c:pt>
                <c:pt idx="269">
                  <c:v>8.7585497835497836</c:v>
                </c:pt>
                <c:pt idx="270">
                  <c:v>8.7585497835497836</c:v>
                </c:pt>
                <c:pt idx="271">
                  <c:v>9.5787878787878853</c:v>
                </c:pt>
                <c:pt idx="272">
                  <c:v>16.469715447154471</c:v>
                </c:pt>
                <c:pt idx="273">
                  <c:v>16.469715447154471</c:v>
                </c:pt>
                <c:pt idx="274">
                  <c:v>16.469715447154471</c:v>
                </c:pt>
                <c:pt idx="275">
                  <c:v>16.469715447154471</c:v>
                </c:pt>
                <c:pt idx="276">
                  <c:v>16.469715447154471</c:v>
                </c:pt>
                <c:pt idx="277">
                  <c:v>16.469715447154471</c:v>
                </c:pt>
                <c:pt idx="278">
                  <c:v>16.235606920022686</c:v>
                </c:pt>
                <c:pt idx="279">
                  <c:v>0.15383086604193341</c:v>
                </c:pt>
                <c:pt idx="280">
                  <c:v>0.15383086604193341</c:v>
                </c:pt>
                <c:pt idx="281">
                  <c:v>0.15383086604193341</c:v>
                </c:pt>
                <c:pt idx="282">
                  <c:v>0.15383086604193341</c:v>
                </c:pt>
                <c:pt idx="283">
                  <c:v>0.15383086604193341</c:v>
                </c:pt>
                <c:pt idx="284">
                  <c:v>0.15383086604193341</c:v>
                </c:pt>
                <c:pt idx="285">
                  <c:v>0.15383086604193341</c:v>
                </c:pt>
                <c:pt idx="286">
                  <c:v>0.15383086604193341</c:v>
                </c:pt>
                <c:pt idx="287">
                  <c:v>0.15383086604193341</c:v>
                </c:pt>
                <c:pt idx="288">
                  <c:v>0.15383086604193341</c:v>
                </c:pt>
                <c:pt idx="289">
                  <c:v>0.15383086604193341</c:v>
                </c:pt>
                <c:pt idx="290">
                  <c:v>0.15383086604193341</c:v>
                </c:pt>
                <c:pt idx="291">
                  <c:v>0.15383086604193341</c:v>
                </c:pt>
                <c:pt idx="292">
                  <c:v>0.15383086604193341</c:v>
                </c:pt>
                <c:pt idx="293">
                  <c:v>0.15383086604193341</c:v>
                </c:pt>
                <c:pt idx="294">
                  <c:v>0.15383086604193341</c:v>
                </c:pt>
                <c:pt idx="295">
                  <c:v>0.15383086604193341</c:v>
                </c:pt>
                <c:pt idx="296">
                  <c:v>0.15383086604193341</c:v>
                </c:pt>
                <c:pt idx="297">
                  <c:v>0.15383086604193341</c:v>
                </c:pt>
                <c:pt idx="298">
                  <c:v>0.15383086604193341</c:v>
                </c:pt>
                <c:pt idx="299">
                  <c:v>0.12996392217498531</c:v>
                </c:pt>
                <c:pt idx="300">
                  <c:v>0.12996392217498531</c:v>
                </c:pt>
                <c:pt idx="301">
                  <c:v>0.12996392217498531</c:v>
                </c:pt>
                <c:pt idx="302">
                  <c:v>0.12996392217498531</c:v>
                </c:pt>
                <c:pt idx="303">
                  <c:v>0.12996392217498531</c:v>
                </c:pt>
                <c:pt idx="304">
                  <c:v>0.12996392217498531</c:v>
                </c:pt>
                <c:pt idx="305">
                  <c:v>7.9963922174981411E-2</c:v>
                </c:pt>
                <c:pt idx="306">
                  <c:v>7.9963922174981411E-2</c:v>
                </c:pt>
                <c:pt idx="307">
                  <c:v>0.12996392217498531</c:v>
                </c:pt>
                <c:pt idx="308">
                  <c:v>0.12996392217498531</c:v>
                </c:pt>
                <c:pt idx="309">
                  <c:v>0.12996392217498531</c:v>
                </c:pt>
                <c:pt idx="310">
                  <c:v>7.9963922174981411E-2</c:v>
                </c:pt>
                <c:pt idx="311">
                  <c:v>7.9963922174981411E-2</c:v>
                </c:pt>
                <c:pt idx="312">
                  <c:v>7.9963922174981411E-2</c:v>
                </c:pt>
                <c:pt idx="313">
                  <c:v>7.9963922174981411E-2</c:v>
                </c:pt>
                <c:pt idx="314">
                  <c:v>7.9963922174981411E-2</c:v>
                </c:pt>
                <c:pt idx="315">
                  <c:v>7.9963922174981411E-2</c:v>
                </c:pt>
                <c:pt idx="316">
                  <c:v>7.9963922174981411E-2</c:v>
                </c:pt>
                <c:pt idx="317">
                  <c:v>7.9963922174981411E-2</c:v>
                </c:pt>
                <c:pt idx="318">
                  <c:v>7.9963922174981411E-2</c:v>
                </c:pt>
                <c:pt idx="319">
                  <c:v>16.235606920022686</c:v>
                </c:pt>
                <c:pt idx="320">
                  <c:v>16.235606920022686</c:v>
                </c:pt>
                <c:pt idx="321">
                  <c:v>16.235606920022686</c:v>
                </c:pt>
                <c:pt idx="322">
                  <c:v>16.235606920022686</c:v>
                </c:pt>
                <c:pt idx="323">
                  <c:v>16.235606920022686</c:v>
                </c:pt>
                <c:pt idx="324">
                  <c:v>16.235606920022686</c:v>
                </c:pt>
                <c:pt idx="325">
                  <c:v>16.235606920022686</c:v>
                </c:pt>
                <c:pt idx="326">
                  <c:v>16.235606920022686</c:v>
                </c:pt>
                <c:pt idx="327">
                  <c:v>16.235606920022686</c:v>
                </c:pt>
                <c:pt idx="328">
                  <c:v>16.235606920022686</c:v>
                </c:pt>
                <c:pt idx="329">
                  <c:v>16.235606920022686</c:v>
                </c:pt>
                <c:pt idx="330">
                  <c:v>16.235606920022686</c:v>
                </c:pt>
                <c:pt idx="331">
                  <c:v>16.235606920022686</c:v>
                </c:pt>
                <c:pt idx="332">
                  <c:v>16.235606920022686</c:v>
                </c:pt>
                <c:pt idx="333">
                  <c:v>5.6396608946609001</c:v>
                </c:pt>
                <c:pt idx="334">
                  <c:v>5.6396608946609001</c:v>
                </c:pt>
                <c:pt idx="335">
                  <c:v>29.180394298793157</c:v>
                </c:pt>
                <c:pt idx="336">
                  <c:v>5.6396608946609001</c:v>
                </c:pt>
                <c:pt idx="337">
                  <c:v>5.6396608946609001</c:v>
                </c:pt>
                <c:pt idx="338">
                  <c:v>29.180394298793157</c:v>
                </c:pt>
                <c:pt idx="339">
                  <c:v>5.6396608946609001</c:v>
                </c:pt>
                <c:pt idx="340">
                  <c:v>5.6396608946609001</c:v>
                </c:pt>
                <c:pt idx="341">
                  <c:v>29.889556819522841</c:v>
                </c:pt>
                <c:pt idx="342">
                  <c:v>29.889556819522841</c:v>
                </c:pt>
                <c:pt idx="343">
                  <c:v>5.6396608946609001</c:v>
                </c:pt>
                <c:pt idx="344">
                  <c:v>29.889556819522841</c:v>
                </c:pt>
                <c:pt idx="345">
                  <c:v>29.889556819522841</c:v>
                </c:pt>
                <c:pt idx="346">
                  <c:v>5.6396608946609001</c:v>
                </c:pt>
                <c:pt idx="347">
                  <c:v>5.6396608946609001</c:v>
                </c:pt>
                <c:pt idx="348">
                  <c:v>29.889556819522841</c:v>
                </c:pt>
                <c:pt idx="349">
                  <c:v>29.889556819522841</c:v>
                </c:pt>
                <c:pt idx="350">
                  <c:v>5.6396608946609001</c:v>
                </c:pt>
                <c:pt idx="351">
                  <c:v>29.889556819522841</c:v>
                </c:pt>
                <c:pt idx="352">
                  <c:v>5.6396608946609001</c:v>
                </c:pt>
                <c:pt idx="353">
                  <c:v>5.6396608946609001</c:v>
                </c:pt>
                <c:pt idx="354">
                  <c:v>29.889556819522841</c:v>
                </c:pt>
                <c:pt idx="355">
                  <c:v>5.6396608946609001</c:v>
                </c:pt>
                <c:pt idx="356">
                  <c:v>3.0784168755221391</c:v>
                </c:pt>
                <c:pt idx="357">
                  <c:v>3.0784168755221391</c:v>
                </c:pt>
                <c:pt idx="358">
                  <c:v>3.0784168755221391</c:v>
                </c:pt>
                <c:pt idx="359">
                  <c:v>3.0784168755221391</c:v>
                </c:pt>
                <c:pt idx="360">
                  <c:v>3.0784168755221391</c:v>
                </c:pt>
                <c:pt idx="361">
                  <c:v>3.0784168755221391</c:v>
                </c:pt>
                <c:pt idx="362">
                  <c:v>3.0784168755221391</c:v>
                </c:pt>
                <c:pt idx="363">
                  <c:v>3.0784168755221391</c:v>
                </c:pt>
                <c:pt idx="364">
                  <c:v>6.197305764411027</c:v>
                </c:pt>
                <c:pt idx="365">
                  <c:v>8.7585497835497836</c:v>
                </c:pt>
                <c:pt idx="366">
                  <c:v>29.889556819522841</c:v>
                </c:pt>
                <c:pt idx="367">
                  <c:v>29.889556819522841</c:v>
                </c:pt>
                <c:pt idx="368">
                  <c:v>5.6396608946609001</c:v>
                </c:pt>
                <c:pt idx="369">
                  <c:v>29.180394298793157</c:v>
                </c:pt>
                <c:pt idx="370">
                  <c:v>29.180394298793157</c:v>
                </c:pt>
                <c:pt idx="371">
                  <c:v>5.6396608946609001</c:v>
                </c:pt>
                <c:pt idx="372">
                  <c:v>29.180394298793157</c:v>
                </c:pt>
                <c:pt idx="373">
                  <c:v>9.7376767676767599</c:v>
                </c:pt>
                <c:pt idx="374">
                  <c:v>6.4598989898989911</c:v>
                </c:pt>
                <c:pt idx="375">
                  <c:v>3.102401129943673E-2</c:v>
                </c:pt>
                <c:pt idx="376">
                  <c:v>3.102401129943673E-2</c:v>
                </c:pt>
                <c:pt idx="377">
                  <c:v>1.2994350282485349E-2</c:v>
                </c:pt>
                <c:pt idx="378">
                  <c:v>5.9661016949151935E-2</c:v>
                </c:pt>
                <c:pt idx="379">
                  <c:v>5.9661016949151935E-2</c:v>
                </c:pt>
                <c:pt idx="380">
                  <c:v>7.6327683615818834E-2</c:v>
                </c:pt>
                <c:pt idx="381">
                  <c:v>7.6327683615818834E-2</c:v>
                </c:pt>
                <c:pt idx="382">
                  <c:v>0.11333333333333738</c:v>
                </c:pt>
                <c:pt idx="383">
                  <c:v>0.15383086604193341</c:v>
                </c:pt>
                <c:pt idx="384">
                  <c:v>0.15383086604193341</c:v>
                </c:pt>
                <c:pt idx="385">
                  <c:v>0.15383086604193341</c:v>
                </c:pt>
                <c:pt idx="386">
                  <c:v>0.15383086604193341</c:v>
                </c:pt>
                <c:pt idx="387">
                  <c:v>0.15383086604193341</c:v>
                </c:pt>
                <c:pt idx="388">
                  <c:v>0.15383086604193341</c:v>
                </c:pt>
                <c:pt idx="389">
                  <c:v>0.15383086604193341</c:v>
                </c:pt>
                <c:pt idx="390">
                  <c:v>0.15383086604193341</c:v>
                </c:pt>
                <c:pt idx="391">
                  <c:v>0.15383086604193341</c:v>
                </c:pt>
                <c:pt idx="392">
                  <c:v>0.15383086604193341</c:v>
                </c:pt>
                <c:pt idx="393">
                  <c:v>0.15383086604193341</c:v>
                </c:pt>
                <c:pt idx="394">
                  <c:v>0.15383086604193341</c:v>
                </c:pt>
                <c:pt idx="395">
                  <c:v>0.15383086604193341</c:v>
                </c:pt>
                <c:pt idx="396">
                  <c:v>0.15383086604193341</c:v>
                </c:pt>
                <c:pt idx="397">
                  <c:v>0.15383086604193341</c:v>
                </c:pt>
                <c:pt idx="398">
                  <c:v>0.15383086604193341</c:v>
                </c:pt>
                <c:pt idx="399">
                  <c:v>0.15383086604193341</c:v>
                </c:pt>
                <c:pt idx="400">
                  <c:v>0.12996392217498531</c:v>
                </c:pt>
                <c:pt idx="401">
                  <c:v>0.12996392217498531</c:v>
                </c:pt>
                <c:pt idx="402">
                  <c:v>0.12996392217498531</c:v>
                </c:pt>
                <c:pt idx="403">
                  <c:v>0.12996392217498531</c:v>
                </c:pt>
                <c:pt idx="404">
                  <c:v>0.12996392217498531</c:v>
                </c:pt>
                <c:pt idx="405">
                  <c:v>0.12996392217498531</c:v>
                </c:pt>
                <c:pt idx="406">
                  <c:v>0.12996392217498531</c:v>
                </c:pt>
                <c:pt idx="407">
                  <c:v>0.12996392217498531</c:v>
                </c:pt>
                <c:pt idx="408">
                  <c:v>0.12996392217498531</c:v>
                </c:pt>
                <c:pt idx="409">
                  <c:v>0.12996392217498531</c:v>
                </c:pt>
                <c:pt idx="410">
                  <c:v>0.12996392217498531</c:v>
                </c:pt>
                <c:pt idx="411">
                  <c:v>0.12996392217498531</c:v>
                </c:pt>
                <c:pt idx="412">
                  <c:v>0.12996392217498531</c:v>
                </c:pt>
                <c:pt idx="413">
                  <c:v>7.9963922174981411E-2</c:v>
                </c:pt>
                <c:pt idx="414">
                  <c:v>7.9963922174981411E-2</c:v>
                </c:pt>
                <c:pt idx="415">
                  <c:v>16.235606920022686</c:v>
                </c:pt>
                <c:pt idx="416">
                  <c:v>16.235606920022686</c:v>
                </c:pt>
                <c:pt idx="417">
                  <c:v>16.235606920022686</c:v>
                </c:pt>
                <c:pt idx="418">
                  <c:v>16.235606920022686</c:v>
                </c:pt>
                <c:pt idx="419">
                  <c:v>16.235606920022686</c:v>
                </c:pt>
                <c:pt idx="420">
                  <c:v>16.235606920022686</c:v>
                </c:pt>
                <c:pt idx="421">
                  <c:v>4.1598989898989895</c:v>
                </c:pt>
                <c:pt idx="422">
                  <c:v>5.6396608946609001</c:v>
                </c:pt>
                <c:pt idx="423">
                  <c:v>5.6396608946609001</c:v>
                </c:pt>
                <c:pt idx="424">
                  <c:v>5.6396608946609001</c:v>
                </c:pt>
                <c:pt idx="425">
                  <c:v>5.6396608946609001</c:v>
                </c:pt>
                <c:pt idx="426">
                  <c:v>29.889556819522841</c:v>
                </c:pt>
                <c:pt idx="427">
                  <c:v>5.6396608946609001</c:v>
                </c:pt>
                <c:pt idx="428">
                  <c:v>5.6396608946609001</c:v>
                </c:pt>
                <c:pt idx="429">
                  <c:v>29.889556819522841</c:v>
                </c:pt>
                <c:pt idx="430">
                  <c:v>5.6396608946609001</c:v>
                </c:pt>
                <c:pt idx="431">
                  <c:v>5.6396608946609001</c:v>
                </c:pt>
                <c:pt idx="432">
                  <c:v>29.889556819522841</c:v>
                </c:pt>
                <c:pt idx="433">
                  <c:v>5.6396608946609001</c:v>
                </c:pt>
                <c:pt idx="434">
                  <c:v>29.889556819522841</c:v>
                </c:pt>
                <c:pt idx="435">
                  <c:v>5.6396608946609001</c:v>
                </c:pt>
                <c:pt idx="436">
                  <c:v>5.6396608946609001</c:v>
                </c:pt>
                <c:pt idx="437">
                  <c:v>29.889556819522841</c:v>
                </c:pt>
                <c:pt idx="438">
                  <c:v>5.6396608946609001</c:v>
                </c:pt>
                <c:pt idx="439">
                  <c:v>29.889556819522841</c:v>
                </c:pt>
                <c:pt idx="440">
                  <c:v>5.6396608946609001</c:v>
                </c:pt>
                <c:pt idx="441">
                  <c:v>5.6396608946609001</c:v>
                </c:pt>
                <c:pt idx="442">
                  <c:v>29.889556819522841</c:v>
                </c:pt>
                <c:pt idx="443">
                  <c:v>5.6396608946609001</c:v>
                </c:pt>
                <c:pt idx="444">
                  <c:v>29.889556819522841</c:v>
                </c:pt>
                <c:pt idx="445">
                  <c:v>29.889556819522841</c:v>
                </c:pt>
                <c:pt idx="446">
                  <c:v>5.6396608946609001</c:v>
                </c:pt>
                <c:pt idx="447">
                  <c:v>29.889556819522841</c:v>
                </c:pt>
                <c:pt idx="448">
                  <c:v>29.889556819522841</c:v>
                </c:pt>
                <c:pt idx="449">
                  <c:v>5.6396608946609001</c:v>
                </c:pt>
                <c:pt idx="450">
                  <c:v>29.889556819522841</c:v>
                </c:pt>
                <c:pt idx="451">
                  <c:v>29.889556819522841</c:v>
                </c:pt>
                <c:pt idx="452">
                  <c:v>3.0623222912353358</c:v>
                </c:pt>
                <c:pt idx="453">
                  <c:v>3.0623222912353358</c:v>
                </c:pt>
                <c:pt idx="454">
                  <c:v>2.2282608695650932E-2</c:v>
                </c:pt>
                <c:pt idx="455">
                  <c:v>9.5375106564349766E-3</c:v>
                </c:pt>
                <c:pt idx="456">
                  <c:v>9.5375106564349766E-3</c:v>
                </c:pt>
                <c:pt idx="457">
                  <c:v>9.5375106564349766E-3</c:v>
                </c:pt>
                <c:pt idx="458">
                  <c:v>9.5375106564349766E-3</c:v>
                </c:pt>
                <c:pt idx="459">
                  <c:v>9.5375106564349766E-3</c:v>
                </c:pt>
                <c:pt idx="460">
                  <c:v>9.5375106564349766E-3</c:v>
                </c:pt>
                <c:pt idx="461">
                  <c:v>12.845454545454547</c:v>
                </c:pt>
                <c:pt idx="462">
                  <c:v>29.889556819522841</c:v>
                </c:pt>
                <c:pt idx="463">
                  <c:v>29.889556819522841</c:v>
                </c:pt>
                <c:pt idx="464">
                  <c:v>5.6396608946609001</c:v>
                </c:pt>
                <c:pt idx="465">
                  <c:v>29.180394298793157</c:v>
                </c:pt>
                <c:pt idx="466">
                  <c:v>29.180394298793157</c:v>
                </c:pt>
                <c:pt idx="467">
                  <c:v>5.6396608946609001</c:v>
                </c:pt>
                <c:pt idx="468">
                  <c:v>24.654931335830224</c:v>
                </c:pt>
                <c:pt idx="469">
                  <c:v>9.7376767676767599</c:v>
                </c:pt>
                <c:pt idx="470">
                  <c:v>6.4598989898989911</c:v>
                </c:pt>
                <c:pt idx="471">
                  <c:v>2.4244350282486071E-2</c:v>
                </c:pt>
                <c:pt idx="472">
                  <c:v>4.2994350282485293E-2</c:v>
                </c:pt>
                <c:pt idx="473">
                  <c:v>5.9661016949151935E-2</c:v>
                </c:pt>
                <c:pt idx="474">
                  <c:v>7.6327683615818834E-2</c:v>
                </c:pt>
                <c:pt idx="475">
                  <c:v>7.6327683615818834E-2</c:v>
                </c:pt>
                <c:pt idx="476">
                  <c:v>0.11333333333333738</c:v>
                </c:pt>
                <c:pt idx="477">
                  <c:v>0.11333333333333738</c:v>
                </c:pt>
                <c:pt idx="478">
                  <c:v>0.11333333333333738</c:v>
                </c:pt>
                <c:pt idx="479">
                  <c:v>0.15383086604193341</c:v>
                </c:pt>
                <c:pt idx="480">
                  <c:v>0.15383086604193341</c:v>
                </c:pt>
                <c:pt idx="481">
                  <c:v>0.15383086604193341</c:v>
                </c:pt>
                <c:pt idx="482">
                  <c:v>0.15383086604193341</c:v>
                </c:pt>
                <c:pt idx="483">
                  <c:v>0.15383086604193341</c:v>
                </c:pt>
                <c:pt idx="484">
                  <c:v>0.15383086604193341</c:v>
                </c:pt>
                <c:pt idx="485">
                  <c:v>0.15383086604193341</c:v>
                </c:pt>
                <c:pt idx="486">
                  <c:v>0.15383086604193341</c:v>
                </c:pt>
                <c:pt idx="487">
                  <c:v>0.15383086604193341</c:v>
                </c:pt>
                <c:pt idx="488">
                  <c:v>0.15383086604193341</c:v>
                </c:pt>
                <c:pt idx="489">
                  <c:v>0.15383086604193341</c:v>
                </c:pt>
                <c:pt idx="490">
                  <c:v>0.15383086604193341</c:v>
                </c:pt>
                <c:pt idx="491">
                  <c:v>0.15383086604193341</c:v>
                </c:pt>
                <c:pt idx="492">
                  <c:v>0.15383086604193341</c:v>
                </c:pt>
                <c:pt idx="493">
                  <c:v>0.15383086604193341</c:v>
                </c:pt>
                <c:pt idx="494">
                  <c:v>0.15383086604193341</c:v>
                </c:pt>
                <c:pt idx="495">
                  <c:v>0.15383086604193341</c:v>
                </c:pt>
                <c:pt idx="496">
                  <c:v>0.12996392217498531</c:v>
                </c:pt>
                <c:pt idx="497">
                  <c:v>0.12996392217498531</c:v>
                </c:pt>
                <c:pt idx="498">
                  <c:v>0.12996392217498531</c:v>
                </c:pt>
                <c:pt idx="499">
                  <c:v>0.12996392217498531</c:v>
                </c:pt>
                <c:pt idx="500">
                  <c:v>0.12996392217498531</c:v>
                </c:pt>
                <c:pt idx="501">
                  <c:v>0.12996392217498531</c:v>
                </c:pt>
                <c:pt idx="502">
                  <c:v>0.12996392217498531</c:v>
                </c:pt>
                <c:pt idx="503">
                  <c:v>0.12996392217498531</c:v>
                </c:pt>
                <c:pt idx="504">
                  <c:v>0.12996392217498531</c:v>
                </c:pt>
                <c:pt idx="505">
                  <c:v>0.12996392217498531</c:v>
                </c:pt>
                <c:pt idx="506">
                  <c:v>0.12996392217498531</c:v>
                </c:pt>
                <c:pt idx="507">
                  <c:v>0.12996392217498531</c:v>
                </c:pt>
                <c:pt idx="508">
                  <c:v>0.12996392217498531</c:v>
                </c:pt>
                <c:pt idx="509">
                  <c:v>7.9963922174981411E-2</c:v>
                </c:pt>
                <c:pt idx="510">
                  <c:v>7.9963922174981411E-2</c:v>
                </c:pt>
                <c:pt idx="511">
                  <c:v>16.235606920022686</c:v>
                </c:pt>
                <c:pt idx="512">
                  <c:v>16.235606920022686</c:v>
                </c:pt>
                <c:pt idx="513">
                  <c:v>16.235606920022686</c:v>
                </c:pt>
                <c:pt idx="514">
                  <c:v>16.235606920022686</c:v>
                </c:pt>
                <c:pt idx="515">
                  <c:v>4.1598989898989895</c:v>
                </c:pt>
                <c:pt idx="516">
                  <c:v>5.6396608946609001</c:v>
                </c:pt>
                <c:pt idx="517">
                  <c:v>5.6396608946609001</c:v>
                </c:pt>
                <c:pt idx="518">
                  <c:v>5.6396608946609001</c:v>
                </c:pt>
                <c:pt idx="519">
                  <c:v>5.6396608946609001</c:v>
                </c:pt>
                <c:pt idx="520">
                  <c:v>5.6396608946609001</c:v>
                </c:pt>
                <c:pt idx="521">
                  <c:v>5.6396608946609001</c:v>
                </c:pt>
                <c:pt idx="522">
                  <c:v>29.180394298793157</c:v>
                </c:pt>
                <c:pt idx="523">
                  <c:v>5.6396608946609001</c:v>
                </c:pt>
                <c:pt idx="524">
                  <c:v>5.6396608946609001</c:v>
                </c:pt>
                <c:pt idx="525">
                  <c:v>29.180394298793157</c:v>
                </c:pt>
                <c:pt idx="526">
                  <c:v>5.6396608946609001</c:v>
                </c:pt>
                <c:pt idx="527">
                  <c:v>29.889556819522841</c:v>
                </c:pt>
                <c:pt idx="528">
                  <c:v>5.6396608946609001</c:v>
                </c:pt>
                <c:pt idx="529">
                  <c:v>29.889556819522841</c:v>
                </c:pt>
                <c:pt idx="530">
                  <c:v>29.889556819522841</c:v>
                </c:pt>
                <c:pt idx="531">
                  <c:v>29.889556819522841</c:v>
                </c:pt>
                <c:pt idx="532">
                  <c:v>5.6396608946609001</c:v>
                </c:pt>
                <c:pt idx="533">
                  <c:v>29.889556819522841</c:v>
                </c:pt>
                <c:pt idx="534">
                  <c:v>5.6396608946609001</c:v>
                </c:pt>
                <c:pt idx="535">
                  <c:v>29.889556819522841</c:v>
                </c:pt>
                <c:pt idx="536">
                  <c:v>5.6396608946609001</c:v>
                </c:pt>
                <c:pt idx="537">
                  <c:v>29.889556819522841</c:v>
                </c:pt>
                <c:pt idx="538">
                  <c:v>29.889556819522841</c:v>
                </c:pt>
                <c:pt idx="539">
                  <c:v>5.6396608946609001</c:v>
                </c:pt>
                <c:pt idx="540">
                  <c:v>29.889556819522841</c:v>
                </c:pt>
                <c:pt idx="541">
                  <c:v>5.6396608946609001</c:v>
                </c:pt>
                <c:pt idx="542">
                  <c:v>29.889556819522841</c:v>
                </c:pt>
                <c:pt idx="543">
                  <c:v>29.889556819522841</c:v>
                </c:pt>
                <c:pt idx="544">
                  <c:v>5.6396608946609001</c:v>
                </c:pt>
                <c:pt idx="545">
                  <c:v>29.889556819522841</c:v>
                </c:pt>
                <c:pt idx="546">
                  <c:v>29.889556819522841</c:v>
                </c:pt>
                <c:pt idx="547">
                  <c:v>5.6396608946609001</c:v>
                </c:pt>
                <c:pt idx="548">
                  <c:v>3.0623222912353358</c:v>
                </c:pt>
                <c:pt idx="549">
                  <c:v>2.2282608695650932E-2</c:v>
                </c:pt>
                <c:pt idx="550">
                  <c:v>9.5375106564349766E-3</c:v>
                </c:pt>
                <c:pt idx="551">
                  <c:v>9.5375106564349766E-3</c:v>
                </c:pt>
                <c:pt idx="552">
                  <c:v>9.5375106564349766E-3</c:v>
                </c:pt>
                <c:pt idx="553">
                  <c:v>9.5375106564349766E-3</c:v>
                </c:pt>
                <c:pt idx="554">
                  <c:v>9.5375106564349766E-3</c:v>
                </c:pt>
                <c:pt idx="555">
                  <c:v>9.5375106564349766E-3</c:v>
                </c:pt>
                <c:pt idx="556">
                  <c:v>9.5375106564349766E-3</c:v>
                </c:pt>
                <c:pt idx="557">
                  <c:v>12.845454545454547</c:v>
                </c:pt>
                <c:pt idx="558">
                  <c:v>29.889556819522841</c:v>
                </c:pt>
                <c:pt idx="559">
                  <c:v>29.889556819522841</c:v>
                </c:pt>
                <c:pt idx="560">
                  <c:v>29.889556819522841</c:v>
                </c:pt>
                <c:pt idx="561">
                  <c:v>5.6396608946609001</c:v>
                </c:pt>
                <c:pt idx="562">
                  <c:v>29.180394298793157</c:v>
                </c:pt>
                <c:pt idx="563">
                  <c:v>5.6396608946609001</c:v>
                </c:pt>
                <c:pt idx="564">
                  <c:v>5.6396608946609001</c:v>
                </c:pt>
                <c:pt idx="565">
                  <c:v>29.180394298793157</c:v>
                </c:pt>
                <c:pt idx="566">
                  <c:v>5.6396608946609001</c:v>
                </c:pt>
                <c:pt idx="567">
                  <c:v>3.102401129943673E-2</c:v>
                </c:pt>
                <c:pt idx="568">
                  <c:v>3.102401129943673E-2</c:v>
                </c:pt>
                <c:pt idx="569">
                  <c:v>3.102401129943673E-2</c:v>
                </c:pt>
                <c:pt idx="570">
                  <c:v>2.4244350282486071E-2</c:v>
                </c:pt>
                <c:pt idx="571">
                  <c:v>1.2994350282485349E-2</c:v>
                </c:pt>
                <c:pt idx="572">
                  <c:v>5.9661016949151935E-2</c:v>
                </c:pt>
                <c:pt idx="573">
                  <c:v>7.6327683615818834E-2</c:v>
                </c:pt>
                <c:pt idx="574">
                  <c:v>0.15383086604193341</c:v>
                </c:pt>
                <c:pt idx="575">
                  <c:v>0.15383086604193341</c:v>
                </c:pt>
                <c:pt idx="576">
                  <c:v>0.15383086604193341</c:v>
                </c:pt>
                <c:pt idx="577">
                  <c:v>0.15383086604193341</c:v>
                </c:pt>
                <c:pt idx="578">
                  <c:v>0.15383086604193341</c:v>
                </c:pt>
                <c:pt idx="579">
                  <c:v>0.15383086604193341</c:v>
                </c:pt>
                <c:pt idx="580">
                  <c:v>0.15383086604193341</c:v>
                </c:pt>
                <c:pt idx="581">
                  <c:v>0.15383086604193341</c:v>
                </c:pt>
                <c:pt idx="582">
                  <c:v>0.15383086604193341</c:v>
                </c:pt>
                <c:pt idx="583">
                  <c:v>0.15383086604193341</c:v>
                </c:pt>
                <c:pt idx="584">
                  <c:v>0.15383086604193341</c:v>
                </c:pt>
                <c:pt idx="585">
                  <c:v>0.15383086604193341</c:v>
                </c:pt>
                <c:pt idx="586">
                  <c:v>0.15383086604193341</c:v>
                </c:pt>
                <c:pt idx="587">
                  <c:v>0.15383086604193341</c:v>
                </c:pt>
                <c:pt idx="588">
                  <c:v>0.15383086604193341</c:v>
                </c:pt>
                <c:pt idx="589">
                  <c:v>0.15383086604193341</c:v>
                </c:pt>
                <c:pt idx="590">
                  <c:v>0.15383086604193341</c:v>
                </c:pt>
                <c:pt idx="591">
                  <c:v>0.12996392217498531</c:v>
                </c:pt>
                <c:pt idx="592">
                  <c:v>0.12996392217498531</c:v>
                </c:pt>
                <c:pt idx="593">
                  <c:v>0.12996392217498531</c:v>
                </c:pt>
                <c:pt idx="594">
                  <c:v>0.12996392217498531</c:v>
                </c:pt>
                <c:pt idx="595">
                  <c:v>0.12996392217498531</c:v>
                </c:pt>
                <c:pt idx="596">
                  <c:v>0.12996392217498531</c:v>
                </c:pt>
                <c:pt idx="597">
                  <c:v>0.12996392217498531</c:v>
                </c:pt>
                <c:pt idx="598">
                  <c:v>0.12996392217498531</c:v>
                </c:pt>
                <c:pt idx="599">
                  <c:v>0.12996392217498531</c:v>
                </c:pt>
                <c:pt idx="600">
                  <c:v>0.12996392217498531</c:v>
                </c:pt>
                <c:pt idx="601">
                  <c:v>0.12996392217498531</c:v>
                </c:pt>
                <c:pt idx="602">
                  <c:v>0.12996392217498531</c:v>
                </c:pt>
                <c:pt idx="603">
                  <c:v>0.12996392217498531</c:v>
                </c:pt>
                <c:pt idx="604">
                  <c:v>7.9963922174981411E-2</c:v>
                </c:pt>
                <c:pt idx="605">
                  <c:v>7.9963922174981411E-2</c:v>
                </c:pt>
                <c:pt idx="606">
                  <c:v>7.9963922174981411E-2</c:v>
                </c:pt>
                <c:pt idx="607">
                  <c:v>0.12599566820672661</c:v>
                </c:pt>
                <c:pt idx="608">
                  <c:v>0.12599566820672661</c:v>
                </c:pt>
                <c:pt idx="609">
                  <c:v>0.12599566820672661</c:v>
                </c:pt>
                <c:pt idx="610">
                  <c:v>0.12599566820672661</c:v>
                </c:pt>
                <c:pt idx="611">
                  <c:v>9.8374805271355503E-2</c:v>
                </c:pt>
                <c:pt idx="612">
                  <c:v>4.0169677066227386E-2</c:v>
                </c:pt>
                <c:pt idx="613">
                  <c:v>3.0728073715363752E-2</c:v>
                </c:pt>
                <c:pt idx="614">
                  <c:v>3.0728073715363752E-2</c:v>
                </c:pt>
                <c:pt idx="615">
                  <c:v>5.6396608946609001</c:v>
                </c:pt>
                <c:pt idx="616">
                  <c:v>5.6396608946609001</c:v>
                </c:pt>
                <c:pt idx="617">
                  <c:v>5.6396608946609001</c:v>
                </c:pt>
                <c:pt idx="618">
                  <c:v>5.6396608946609001</c:v>
                </c:pt>
                <c:pt idx="619">
                  <c:v>5.6396608946609001</c:v>
                </c:pt>
                <c:pt idx="620">
                  <c:v>5.6396608946609001</c:v>
                </c:pt>
                <c:pt idx="621">
                  <c:v>2.7777777777776833E-2</c:v>
                </c:pt>
                <c:pt idx="622">
                  <c:v>1.5032679738560864E-2</c:v>
                </c:pt>
                <c:pt idx="623">
                  <c:v>5.6396608946609001</c:v>
                </c:pt>
                <c:pt idx="624">
                  <c:v>29.889556819522841</c:v>
                </c:pt>
                <c:pt idx="625">
                  <c:v>5.6396608946609001</c:v>
                </c:pt>
                <c:pt idx="626">
                  <c:v>5.6396608946609001</c:v>
                </c:pt>
                <c:pt idx="627">
                  <c:v>29.889556819522841</c:v>
                </c:pt>
                <c:pt idx="628">
                  <c:v>5.6396608946609001</c:v>
                </c:pt>
                <c:pt idx="629">
                  <c:v>29.889556819522841</c:v>
                </c:pt>
                <c:pt idx="630">
                  <c:v>29.889556819522841</c:v>
                </c:pt>
                <c:pt idx="631">
                  <c:v>5.6396608946609001</c:v>
                </c:pt>
                <c:pt idx="632">
                  <c:v>29.889556819522841</c:v>
                </c:pt>
                <c:pt idx="633">
                  <c:v>5.6396608946609001</c:v>
                </c:pt>
                <c:pt idx="634">
                  <c:v>29.889556819522841</c:v>
                </c:pt>
                <c:pt idx="635">
                  <c:v>29.889556819522841</c:v>
                </c:pt>
                <c:pt idx="636">
                  <c:v>5.6396608946609001</c:v>
                </c:pt>
                <c:pt idx="637">
                  <c:v>29.889556819522841</c:v>
                </c:pt>
                <c:pt idx="638">
                  <c:v>29.889556819522841</c:v>
                </c:pt>
                <c:pt idx="639">
                  <c:v>5.9273066169616882E-2</c:v>
                </c:pt>
                <c:pt idx="640">
                  <c:v>3.102401129943673E-2</c:v>
                </c:pt>
                <c:pt idx="641">
                  <c:v>3.102401129943673E-2</c:v>
                </c:pt>
                <c:pt idx="642">
                  <c:v>3.102401129943673E-2</c:v>
                </c:pt>
                <c:pt idx="643">
                  <c:v>3.102401129943673E-2</c:v>
                </c:pt>
                <c:pt idx="644">
                  <c:v>3.102401129943673E-2</c:v>
                </c:pt>
                <c:pt idx="645">
                  <c:v>3.102401129943673E-2</c:v>
                </c:pt>
                <c:pt idx="646">
                  <c:v>3.102401129943673E-2</c:v>
                </c:pt>
                <c:pt idx="647">
                  <c:v>3.102401129943673E-2</c:v>
                </c:pt>
                <c:pt idx="648">
                  <c:v>3.102401129943673E-2</c:v>
                </c:pt>
                <c:pt idx="649">
                  <c:v>3.102401129943673E-2</c:v>
                </c:pt>
                <c:pt idx="650">
                  <c:v>3.102401129943673E-2</c:v>
                </c:pt>
                <c:pt idx="651">
                  <c:v>3.102401129943673E-2</c:v>
                </c:pt>
                <c:pt idx="652">
                  <c:v>3.102401129943673E-2</c:v>
                </c:pt>
                <c:pt idx="653">
                  <c:v>3.102401129943673E-2</c:v>
                </c:pt>
                <c:pt idx="654">
                  <c:v>3.102401129943673E-2</c:v>
                </c:pt>
                <c:pt idx="655">
                  <c:v>3.102401129943673E-2</c:v>
                </c:pt>
                <c:pt idx="656">
                  <c:v>3.102401129943673E-2</c:v>
                </c:pt>
                <c:pt idx="657">
                  <c:v>3.102401129943673E-2</c:v>
                </c:pt>
                <c:pt idx="658">
                  <c:v>3.102401129943673E-2</c:v>
                </c:pt>
                <c:pt idx="659">
                  <c:v>3.0728073715363752E-2</c:v>
                </c:pt>
                <c:pt idx="660">
                  <c:v>3.0728073715363752E-2</c:v>
                </c:pt>
                <c:pt idx="661">
                  <c:v>3.0728073715363752E-2</c:v>
                </c:pt>
                <c:pt idx="662">
                  <c:v>3.0728073715363752E-2</c:v>
                </c:pt>
                <c:pt idx="663">
                  <c:v>3.0728073715363752E-2</c:v>
                </c:pt>
                <c:pt idx="664">
                  <c:v>3.0728073715363752E-2</c:v>
                </c:pt>
                <c:pt idx="665">
                  <c:v>5.7281746031745989E-2</c:v>
                </c:pt>
                <c:pt idx="666">
                  <c:v>9.2698412698411864E-2</c:v>
                </c:pt>
                <c:pt idx="667">
                  <c:v>0.10936507936507869</c:v>
                </c:pt>
                <c:pt idx="668">
                  <c:v>0.11333333333333738</c:v>
                </c:pt>
                <c:pt idx="669">
                  <c:v>0.11333333333333738</c:v>
                </c:pt>
                <c:pt idx="670">
                  <c:v>0.15383086604193341</c:v>
                </c:pt>
                <c:pt idx="671">
                  <c:v>0.15383086604193341</c:v>
                </c:pt>
                <c:pt idx="672">
                  <c:v>0.15383086604193341</c:v>
                </c:pt>
                <c:pt idx="673">
                  <c:v>0.15383086604193341</c:v>
                </c:pt>
                <c:pt idx="674">
                  <c:v>0.15383086604193341</c:v>
                </c:pt>
                <c:pt idx="675">
                  <c:v>0.12996392217498531</c:v>
                </c:pt>
                <c:pt idx="676">
                  <c:v>0.12996392217498531</c:v>
                </c:pt>
                <c:pt idx="677">
                  <c:v>0.12996392217498531</c:v>
                </c:pt>
                <c:pt idx="678">
                  <c:v>0.12996392217498531</c:v>
                </c:pt>
                <c:pt idx="679">
                  <c:v>0.12996392217498531</c:v>
                </c:pt>
                <c:pt idx="680">
                  <c:v>0.12996392217498531</c:v>
                </c:pt>
                <c:pt idx="681">
                  <c:v>0.12996392217498531</c:v>
                </c:pt>
                <c:pt idx="682">
                  <c:v>0.12996392217498531</c:v>
                </c:pt>
                <c:pt idx="683">
                  <c:v>0.14218614439720395</c:v>
                </c:pt>
                <c:pt idx="684">
                  <c:v>0.14218614439720395</c:v>
                </c:pt>
                <c:pt idx="685">
                  <c:v>7.9963922174981411E-2</c:v>
                </c:pt>
                <c:pt idx="686">
                  <c:v>7.9963922174981411E-2</c:v>
                </c:pt>
                <c:pt idx="687">
                  <c:v>7.9963922174981411E-2</c:v>
                </c:pt>
                <c:pt idx="688">
                  <c:v>7.9963922174981411E-2</c:v>
                </c:pt>
                <c:pt idx="689">
                  <c:v>7.9963922174981411E-2</c:v>
                </c:pt>
                <c:pt idx="690">
                  <c:v>7.9963922174981411E-2</c:v>
                </c:pt>
                <c:pt idx="691">
                  <c:v>0.11842546063652006</c:v>
                </c:pt>
                <c:pt idx="692">
                  <c:v>0.11842546063652006</c:v>
                </c:pt>
                <c:pt idx="693">
                  <c:v>0.11842546063652006</c:v>
                </c:pt>
                <c:pt idx="694">
                  <c:v>0.11842546063652006</c:v>
                </c:pt>
                <c:pt idx="695">
                  <c:v>0.11842546063652006</c:v>
                </c:pt>
                <c:pt idx="696">
                  <c:v>0.11842546063652006</c:v>
                </c:pt>
                <c:pt idx="697">
                  <c:v>0.11842546063652006</c:v>
                </c:pt>
                <c:pt idx="698">
                  <c:v>0.11842546063652006</c:v>
                </c:pt>
                <c:pt idx="699">
                  <c:v>0.11842546063652006</c:v>
                </c:pt>
                <c:pt idx="700">
                  <c:v>0.11842546063652006</c:v>
                </c:pt>
                <c:pt idx="701">
                  <c:v>7.9963922174981411E-2</c:v>
                </c:pt>
                <c:pt idx="702">
                  <c:v>7.9963922174981411E-2</c:v>
                </c:pt>
                <c:pt idx="703">
                  <c:v>16.235606920022686</c:v>
                </c:pt>
                <c:pt idx="704">
                  <c:v>16.235606920022686</c:v>
                </c:pt>
                <c:pt idx="705">
                  <c:v>16.235606920022686</c:v>
                </c:pt>
                <c:pt idx="706">
                  <c:v>16.235606920022686</c:v>
                </c:pt>
                <c:pt idx="707">
                  <c:v>16.235606920022686</c:v>
                </c:pt>
                <c:pt idx="708">
                  <c:v>16.235606920022686</c:v>
                </c:pt>
                <c:pt idx="709">
                  <c:v>16.235606920022686</c:v>
                </c:pt>
                <c:pt idx="710">
                  <c:v>4.1598989898989895</c:v>
                </c:pt>
                <c:pt idx="711">
                  <c:v>5.6396608946609001</c:v>
                </c:pt>
                <c:pt idx="712">
                  <c:v>5.6396608946609001</c:v>
                </c:pt>
                <c:pt idx="713">
                  <c:v>5.6396608946609001</c:v>
                </c:pt>
                <c:pt idx="714">
                  <c:v>5.6396608946609001</c:v>
                </c:pt>
                <c:pt idx="715">
                  <c:v>5.6396608946609001</c:v>
                </c:pt>
                <c:pt idx="716">
                  <c:v>2.7777777777776833E-2</c:v>
                </c:pt>
                <c:pt idx="717">
                  <c:v>1.5032679738560864E-2</c:v>
                </c:pt>
                <c:pt idx="718">
                  <c:v>1.5032679738560864E-2</c:v>
                </c:pt>
                <c:pt idx="719">
                  <c:v>1.5032679738560864E-2</c:v>
                </c:pt>
                <c:pt idx="720">
                  <c:v>1.5032679738560864E-2</c:v>
                </c:pt>
                <c:pt idx="721">
                  <c:v>5.6396608946609001</c:v>
                </c:pt>
                <c:pt idx="722">
                  <c:v>29.889556819522841</c:v>
                </c:pt>
                <c:pt idx="723">
                  <c:v>5.6396608946609001</c:v>
                </c:pt>
                <c:pt idx="724">
                  <c:v>29.889556819522841</c:v>
                </c:pt>
                <c:pt idx="725">
                  <c:v>5.6396608946609001</c:v>
                </c:pt>
                <c:pt idx="726">
                  <c:v>29.889556819522841</c:v>
                </c:pt>
                <c:pt idx="727">
                  <c:v>29.889556819522841</c:v>
                </c:pt>
                <c:pt idx="728">
                  <c:v>5.6396608946609001</c:v>
                </c:pt>
                <c:pt idx="729">
                  <c:v>29.889556819522841</c:v>
                </c:pt>
                <c:pt idx="730">
                  <c:v>5.6396608946609001</c:v>
                </c:pt>
                <c:pt idx="731">
                  <c:v>29.889556819522841</c:v>
                </c:pt>
                <c:pt idx="732">
                  <c:v>29.889556819522841</c:v>
                </c:pt>
                <c:pt idx="733">
                  <c:v>5.6396608946609001</c:v>
                </c:pt>
                <c:pt idx="734">
                  <c:v>29.889556819522841</c:v>
                </c:pt>
                <c:pt idx="735">
                  <c:v>5.6396608946609001</c:v>
                </c:pt>
                <c:pt idx="736">
                  <c:v>29.889556819522841</c:v>
                </c:pt>
                <c:pt idx="737">
                  <c:v>29.889556819522841</c:v>
                </c:pt>
                <c:pt idx="738">
                  <c:v>5.6396608946609001</c:v>
                </c:pt>
                <c:pt idx="739">
                  <c:v>29.889556819522841</c:v>
                </c:pt>
                <c:pt idx="740">
                  <c:v>3.0623222912353358</c:v>
                </c:pt>
                <c:pt idx="741">
                  <c:v>3.0623222912353358</c:v>
                </c:pt>
                <c:pt idx="742">
                  <c:v>3.0623222912353358</c:v>
                </c:pt>
                <c:pt idx="743">
                  <c:v>2.2282608695650932E-2</c:v>
                </c:pt>
                <c:pt idx="744">
                  <c:v>9.5375106564349766E-3</c:v>
                </c:pt>
                <c:pt idx="745">
                  <c:v>9.5375106564349766E-3</c:v>
                </c:pt>
                <c:pt idx="746">
                  <c:v>9.5375106564349766E-3</c:v>
                </c:pt>
                <c:pt idx="747">
                  <c:v>9.5375106564349766E-3</c:v>
                </c:pt>
                <c:pt idx="748">
                  <c:v>9.5375106564349766E-3</c:v>
                </c:pt>
                <c:pt idx="749">
                  <c:v>8.7585497835497836</c:v>
                </c:pt>
                <c:pt idx="750">
                  <c:v>29.180394298793157</c:v>
                </c:pt>
                <c:pt idx="751">
                  <c:v>29.180394298793157</c:v>
                </c:pt>
                <c:pt idx="752">
                  <c:v>5.6396608946609001</c:v>
                </c:pt>
                <c:pt idx="753">
                  <c:v>29.180394298793157</c:v>
                </c:pt>
                <c:pt idx="754">
                  <c:v>9.7376767676767599</c:v>
                </c:pt>
                <c:pt idx="755">
                  <c:v>6.4598989898989911</c:v>
                </c:pt>
                <c:pt idx="756">
                  <c:v>16.469715447154471</c:v>
                </c:pt>
                <c:pt idx="757">
                  <c:v>16.469715447154471</c:v>
                </c:pt>
                <c:pt idx="758">
                  <c:v>16.469715447154471</c:v>
                </c:pt>
                <c:pt idx="759">
                  <c:v>0.15383086604193341</c:v>
                </c:pt>
                <c:pt idx="760">
                  <c:v>0.15383086604193341</c:v>
                </c:pt>
                <c:pt idx="761">
                  <c:v>0.15383086604193341</c:v>
                </c:pt>
                <c:pt idx="762">
                  <c:v>0.15383086604193341</c:v>
                </c:pt>
                <c:pt idx="763">
                  <c:v>0.15383086604193341</c:v>
                </c:pt>
                <c:pt idx="764">
                  <c:v>0.15383086604193341</c:v>
                </c:pt>
                <c:pt idx="765">
                  <c:v>0.15383086604193341</c:v>
                </c:pt>
                <c:pt idx="766">
                  <c:v>0.15383086604193341</c:v>
                </c:pt>
                <c:pt idx="767">
                  <c:v>0.15383086604193341</c:v>
                </c:pt>
                <c:pt idx="768">
                  <c:v>0.15383086604193341</c:v>
                </c:pt>
                <c:pt idx="769">
                  <c:v>0.15383086604193341</c:v>
                </c:pt>
                <c:pt idx="770">
                  <c:v>0.15383086604193341</c:v>
                </c:pt>
                <c:pt idx="771">
                  <c:v>0.15383086604193341</c:v>
                </c:pt>
                <c:pt idx="772">
                  <c:v>0.15383086604193341</c:v>
                </c:pt>
                <c:pt idx="773">
                  <c:v>0.15383086604193341</c:v>
                </c:pt>
                <c:pt idx="774">
                  <c:v>0.15383086604193341</c:v>
                </c:pt>
                <c:pt idx="775">
                  <c:v>0.15383086604193341</c:v>
                </c:pt>
                <c:pt idx="776">
                  <c:v>0.15383086604193341</c:v>
                </c:pt>
                <c:pt idx="777">
                  <c:v>0.16605308826415188</c:v>
                </c:pt>
                <c:pt idx="778">
                  <c:v>0.16605308826415188</c:v>
                </c:pt>
                <c:pt idx="779">
                  <c:v>0.16605308826415188</c:v>
                </c:pt>
                <c:pt idx="780">
                  <c:v>0.16605308826415188</c:v>
                </c:pt>
                <c:pt idx="781">
                  <c:v>0.14218614439720395</c:v>
                </c:pt>
                <c:pt idx="782">
                  <c:v>0.14218614439720395</c:v>
                </c:pt>
                <c:pt idx="783">
                  <c:v>0.14218614439720395</c:v>
                </c:pt>
                <c:pt idx="784">
                  <c:v>0.14218614439720395</c:v>
                </c:pt>
                <c:pt idx="785">
                  <c:v>0.14218614439720395</c:v>
                </c:pt>
                <c:pt idx="786">
                  <c:v>0.14218614439720395</c:v>
                </c:pt>
                <c:pt idx="787">
                  <c:v>0.14218614439720395</c:v>
                </c:pt>
                <c:pt idx="788">
                  <c:v>0.14218614439720395</c:v>
                </c:pt>
                <c:pt idx="789">
                  <c:v>0.14218614439720395</c:v>
                </c:pt>
                <c:pt idx="790">
                  <c:v>7.9963922174981411E-2</c:v>
                </c:pt>
                <c:pt idx="791">
                  <c:v>0.11842546063652006</c:v>
                </c:pt>
                <c:pt idx="792">
                  <c:v>0.11842546063652006</c:v>
                </c:pt>
                <c:pt idx="793">
                  <c:v>0.11842546063652006</c:v>
                </c:pt>
                <c:pt idx="794">
                  <c:v>0.11842546063652006</c:v>
                </c:pt>
                <c:pt idx="795">
                  <c:v>0.11842546063652006</c:v>
                </c:pt>
                <c:pt idx="796">
                  <c:v>0.11842546063652006</c:v>
                </c:pt>
                <c:pt idx="797">
                  <c:v>7.9963922174981411E-2</c:v>
                </c:pt>
                <c:pt idx="798">
                  <c:v>7.9963922174981411E-2</c:v>
                </c:pt>
                <c:pt idx="799">
                  <c:v>16.235606920022686</c:v>
                </c:pt>
                <c:pt idx="800">
                  <c:v>16.235606920022686</c:v>
                </c:pt>
                <c:pt idx="801">
                  <c:v>16.235606920022686</c:v>
                </c:pt>
                <c:pt idx="802">
                  <c:v>16.235606920022686</c:v>
                </c:pt>
                <c:pt idx="803">
                  <c:v>16.235606920022686</c:v>
                </c:pt>
                <c:pt idx="804">
                  <c:v>16.235606920022686</c:v>
                </c:pt>
                <c:pt idx="805">
                  <c:v>16.235606920022686</c:v>
                </c:pt>
                <c:pt idx="806">
                  <c:v>16.235606920022686</c:v>
                </c:pt>
                <c:pt idx="807">
                  <c:v>16.235606920022686</c:v>
                </c:pt>
                <c:pt idx="808">
                  <c:v>5.6396608946609001</c:v>
                </c:pt>
                <c:pt idx="809">
                  <c:v>5.6396608946609001</c:v>
                </c:pt>
                <c:pt idx="810">
                  <c:v>5.6396608946609001</c:v>
                </c:pt>
                <c:pt idx="811">
                  <c:v>5.6396608946609001</c:v>
                </c:pt>
                <c:pt idx="812">
                  <c:v>5.6396608946609001</c:v>
                </c:pt>
                <c:pt idx="813">
                  <c:v>29.889556819522841</c:v>
                </c:pt>
                <c:pt idx="814">
                  <c:v>5.6396608946609001</c:v>
                </c:pt>
                <c:pt idx="815">
                  <c:v>5.6396608946609001</c:v>
                </c:pt>
                <c:pt idx="816">
                  <c:v>29.889556819522841</c:v>
                </c:pt>
                <c:pt idx="817">
                  <c:v>29.889556819522841</c:v>
                </c:pt>
                <c:pt idx="818">
                  <c:v>5.6396608946609001</c:v>
                </c:pt>
                <c:pt idx="819">
                  <c:v>29.889556819522841</c:v>
                </c:pt>
                <c:pt idx="820">
                  <c:v>29.889556819522841</c:v>
                </c:pt>
                <c:pt idx="821">
                  <c:v>5.6396608946609001</c:v>
                </c:pt>
                <c:pt idx="822">
                  <c:v>29.889556819522841</c:v>
                </c:pt>
                <c:pt idx="823">
                  <c:v>5.6396608946609001</c:v>
                </c:pt>
                <c:pt idx="824">
                  <c:v>29.889556819522841</c:v>
                </c:pt>
                <c:pt idx="825">
                  <c:v>29.889556819522841</c:v>
                </c:pt>
                <c:pt idx="826">
                  <c:v>5.6396608946609001</c:v>
                </c:pt>
                <c:pt idx="827">
                  <c:v>29.889556819522841</c:v>
                </c:pt>
                <c:pt idx="828">
                  <c:v>29.889556819522841</c:v>
                </c:pt>
                <c:pt idx="829">
                  <c:v>29.889556819522841</c:v>
                </c:pt>
                <c:pt idx="830">
                  <c:v>5.6396608946609001</c:v>
                </c:pt>
                <c:pt idx="831">
                  <c:v>29.889556819522841</c:v>
                </c:pt>
                <c:pt idx="832">
                  <c:v>29.889556819522841</c:v>
                </c:pt>
                <c:pt idx="833">
                  <c:v>5.6396608946609001</c:v>
                </c:pt>
                <c:pt idx="834">
                  <c:v>29.889556819522841</c:v>
                </c:pt>
                <c:pt idx="835">
                  <c:v>29.889556819522841</c:v>
                </c:pt>
                <c:pt idx="836">
                  <c:v>3.0623222912353358</c:v>
                </c:pt>
                <c:pt idx="837">
                  <c:v>3.0623222912353358</c:v>
                </c:pt>
                <c:pt idx="838">
                  <c:v>3.0623222912353358</c:v>
                </c:pt>
                <c:pt idx="839">
                  <c:v>9.5375106564349766E-3</c:v>
                </c:pt>
                <c:pt idx="840">
                  <c:v>9.5375106564349766E-3</c:v>
                </c:pt>
                <c:pt idx="841">
                  <c:v>9.5375106564349766E-3</c:v>
                </c:pt>
                <c:pt idx="842">
                  <c:v>9.5375106564349766E-3</c:v>
                </c:pt>
                <c:pt idx="843">
                  <c:v>9.5375106564349766E-3</c:v>
                </c:pt>
                <c:pt idx="844">
                  <c:v>9.5375106564349766E-3</c:v>
                </c:pt>
                <c:pt idx="845">
                  <c:v>12.845454545454547</c:v>
                </c:pt>
                <c:pt idx="846">
                  <c:v>29.889556819522841</c:v>
                </c:pt>
                <c:pt idx="847">
                  <c:v>29.180394298793157</c:v>
                </c:pt>
                <c:pt idx="848">
                  <c:v>5.6396608946609001</c:v>
                </c:pt>
                <c:pt idx="849">
                  <c:v>5.6396608946609001</c:v>
                </c:pt>
                <c:pt idx="850">
                  <c:v>24.654931335830224</c:v>
                </c:pt>
                <c:pt idx="851">
                  <c:v>9.7376767676767599</c:v>
                </c:pt>
                <c:pt idx="852">
                  <c:v>6.4598989898989911</c:v>
                </c:pt>
                <c:pt idx="853">
                  <c:v>16.469715447154471</c:v>
                </c:pt>
                <c:pt idx="854">
                  <c:v>16.469715447154471</c:v>
                </c:pt>
                <c:pt idx="855">
                  <c:v>0.15383086604193341</c:v>
                </c:pt>
                <c:pt idx="856">
                  <c:v>0.15383086604193341</c:v>
                </c:pt>
                <c:pt idx="857">
                  <c:v>0.15383086604193341</c:v>
                </c:pt>
                <c:pt idx="858">
                  <c:v>0.15383086604193341</c:v>
                </c:pt>
                <c:pt idx="859">
                  <c:v>0.15383086604193341</c:v>
                </c:pt>
                <c:pt idx="860">
                  <c:v>0.15383086604193341</c:v>
                </c:pt>
                <c:pt idx="861">
                  <c:v>0.15383086604193341</c:v>
                </c:pt>
                <c:pt idx="862">
                  <c:v>0.15383086604193341</c:v>
                </c:pt>
                <c:pt idx="863">
                  <c:v>0.15383086604193341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62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62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621</c:v>
                </c:pt>
                <c:pt idx="14">
                  <c:v>42590.145833333336</c:v>
                </c:pt>
                <c:pt idx="15">
                  <c:v>42590.156250000029</c:v>
                </c:pt>
                <c:pt idx="16">
                  <c:v>42590.166666666621</c:v>
                </c:pt>
                <c:pt idx="17">
                  <c:v>42590.177083333307</c:v>
                </c:pt>
                <c:pt idx="18">
                  <c:v>42590.1875</c:v>
                </c:pt>
                <c:pt idx="19">
                  <c:v>42590.19791666662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91</c:v>
                </c:pt>
                <c:pt idx="23">
                  <c:v>42590.239583333307</c:v>
                </c:pt>
                <c:pt idx="24">
                  <c:v>42590.25</c:v>
                </c:pt>
                <c:pt idx="25">
                  <c:v>42590.26041666662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91</c:v>
                </c:pt>
                <c:pt idx="29">
                  <c:v>42590.302083333336</c:v>
                </c:pt>
                <c:pt idx="30">
                  <c:v>42590.312500000029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29</c:v>
                </c:pt>
                <c:pt idx="40">
                  <c:v>42590.416666666657</c:v>
                </c:pt>
                <c:pt idx="41">
                  <c:v>42590.427083333307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62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62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62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621</c:v>
                </c:pt>
                <c:pt idx="62">
                  <c:v>42590.645833333336</c:v>
                </c:pt>
                <c:pt idx="63">
                  <c:v>42590.656250000029</c:v>
                </c:pt>
                <c:pt idx="64">
                  <c:v>42590.666666666621</c:v>
                </c:pt>
                <c:pt idx="65">
                  <c:v>42590.677083333307</c:v>
                </c:pt>
                <c:pt idx="66">
                  <c:v>42590.6875</c:v>
                </c:pt>
                <c:pt idx="67">
                  <c:v>42590.69791666662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91</c:v>
                </c:pt>
                <c:pt idx="71">
                  <c:v>42590.739583333307</c:v>
                </c:pt>
                <c:pt idx="72">
                  <c:v>42590.75</c:v>
                </c:pt>
                <c:pt idx="73">
                  <c:v>42590.76041666662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91</c:v>
                </c:pt>
                <c:pt idx="77">
                  <c:v>42590.802083333336</c:v>
                </c:pt>
                <c:pt idx="78">
                  <c:v>42590.812500000029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29</c:v>
                </c:pt>
                <c:pt idx="88">
                  <c:v>42590.916666666657</c:v>
                </c:pt>
                <c:pt idx="89">
                  <c:v>42590.927083333307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62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62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62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621</c:v>
                </c:pt>
                <c:pt idx="110">
                  <c:v>42591.145833333336</c:v>
                </c:pt>
                <c:pt idx="111">
                  <c:v>42591.156250000029</c:v>
                </c:pt>
                <c:pt idx="112">
                  <c:v>42591.166666666621</c:v>
                </c:pt>
                <c:pt idx="113">
                  <c:v>42591.177083333307</c:v>
                </c:pt>
                <c:pt idx="114">
                  <c:v>42591.1875</c:v>
                </c:pt>
                <c:pt idx="115">
                  <c:v>42591.19791666662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91</c:v>
                </c:pt>
                <c:pt idx="119">
                  <c:v>42591.239583333307</c:v>
                </c:pt>
                <c:pt idx="120">
                  <c:v>42591.25</c:v>
                </c:pt>
                <c:pt idx="121">
                  <c:v>42591.26041666662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91</c:v>
                </c:pt>
                <c:pt idx="125">
                  <c:v>42591.302083333336</c:v>
                </c:pt>
                <c:pt idx="126">
                  <c:v>42591.312500000029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29</c:v>
                </c:pt>
                <c:pt idx="136">
                  <c:v>42591.416666666657</c:v>
                </c:pt>
                <c:pt idx="137">
                  <c:v>42591.427083333307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62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62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62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621</c:v>
                </c:pt>
                <c:pt idx="158">
                  <c:v>42591.645833333336</c:v>
                </c:pt>
                <c:pt idx="159">
                  <c:v>42591.656250000029</c:v>
                </c:pt>
                <c:pt idx="160">
                  <c:v>42591.666666666621</c:v>
                </c:pt>
                <c:pt idx="161">
                  <c:v>42591.677083333307</c:v>
                </c:pt>
                <c:pt idx="162">
                  <c:v>42591.6875</c:v>
                </c:pt>
                <c:pt idx="163">
                  <c:v>42591.69791666662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91</c:v>
                </c:pt>
                <c:pt idx="167">
                  <c:v>42591.739583333307</c:v>
                </c:pt>
                <c:pt idx="168">
                  <c:v>42591.75</c:v>
                </c:pt>
                <c:pt idx="169">
                  <c:v>42591.76041666662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91</c:v>
                </c:pt>
                <c:pt idx="173">
                  <c:v>42591.802083333336</c:v>
                </c:pt>
                <c:pt idx="174">
                  <c:v>42591.812500000029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29</c:v>
                </c:pt>
                <c:pt idx="184">
                  <c:v>42591.916666666657</c:v>
                </c:pt>
                <c:pt idx="185">
                  <c:v>42591.927083333307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62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62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62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621</c:v>
                </c:pt>
                <c:pt idx="206">
                  <c:v>42592.145833333336</c:v>
                </c:pt>
                <c:pt idx="207">
                  <c:v>42592.156250000029</c:v>
                </c:pt>
                <c:pt idx="208">
                  <c:v>42592.166666666621</c:v>
                </c:pt>
                <c:pt idx="209">
                  <c:v>42592.177083333307</c:v>
                </c:pt>
                <c:pt idx="210">
                  <c:v>42592.1875</c:v>
                </c:pt>
                <c:pt idx="211">
                  <c:v>42592.19791666662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91</c:v>
                </c:pt>
                <c:pt idx="215">
                  <c:v>42592.239583333307</c:v>
                </c:pt>
                <c:pt idx="216">
                  <c:v>42592.25</c:v>
                </c:pt>
                <c:pt idx="217">
                  <c:v>42592.26041666662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91</c:v>
                </c:pt>
                <c:pt idx="221">
                  <c:v>42592.302083333336</c:v>
                </c:pt>
                <c:pt idx="222">
                  <c:v>42592.312500000029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29</c:v>
                </c:pt>
                <c:pt idx="232">
                  <c:v>42592.416666666657</c:v>
                </c:pt>
                <c:pt idx="233">
                  <c:v>42592.427083333307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62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62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62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621</c:v>
                </c:pt>
                <c:pt idx="254">
                  <c:v>42592.645833333336</c:v>
                </c:pt>
                <c:pt idx="255">
                  <c:v>42592.656250000029</c:v>
                </c:pt>
                <c:pt idx="256">
                  <c:v>42592.666666666621</c:v>
                </c:pt>
                <c:pt idx="257">
                  <c:v>42592.677083333307</c:v>
                </c:pt>
                <c:pt idx="258">
                  <c:v>42592.6875</c:v>
                </c:pt>
                <c:pt idx="259">
                  <c:v>42592.69791666662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91</c:v>
                </c:pt>
                <c:pt idx="263">
                  <c:v>42592.739583333307</c:v>
                </c:pt>
                <c:pt idx="264">
                  <c:v>42592.75</c:v>
                </c:pt>
                <c:pt idx="265">
                  <c:v>42592.76041666662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91</c:v>
                </c:pt>
                <c:pt idx="269">
                  <c:v>42592.802083333336</c:v>
                </c:pt>
                <c:pt idx="270">
                  <c:v>42592.812500000029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29</c:v>
                </c:pt>
                <c:pt idx="280">
                  <c:v>42592.916666666657</c:v>
                </c:pt>
                <c:pt idx="281">
                  <c:v>42592.927083333307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62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62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62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621</c:v>
                </c:pt>
                <c:pt idx="302">
                  <c:v>42593.145833333336</c:v>
                </c:pt>
                <c:pt idx="303">
                  <c:v>42593.156250000029</c:v>
                </c:pt>
                <c:pt idx="304">
                  <c:v>42593.166666666621</c:v>
                </c:pt>
                <c:pt idx="305">
                  <c:v>42593.177083333307</c:v>
                </c:pt>
                <c:pt idx="306">
                  <c:v>42593.1875</c:v>
                </c:pt>
                <c:pt idx="307">
                  <c:v>42593.19791666662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91</c:v>
                </c:pt>
                <c:pt idx="311">
                  <c:v>42593.239583333307</c:v>
                </c:pt>
                <c:pt idx="312">
                  <c:v>42593.25</c:v>
                </c:pt>
                <c:pt idx="313">
                  <c:v>42593.26041666662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91</c:v>
                </c:pt>
                <c:pt idx="317">
                  <c:v>42593.302083333336</c:v>
                </c:pt>
                <c:pt idx="318">
                  <c:v>42593.312500000029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29</c:v>
                </c:pt>
                <c:pt idx="328">
                  <c:v>42593.416666666657</c:v>
                </c:pt>
                <c:pt idx="329">
                  <c:v>42593.427083333307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62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62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62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621</c:v>
                </c:pt>
                <c:pt idx="350">
                  <c:v>42593.645833333336</c:v>
                </c:pt>
                <c:pt idx="351">
                  <c:v>42593.656250000029</c:v>
                </c:pt>
                <c:pt idx="352">
                  <c:v>42593.666666666621</c:v>
                </c:pt>
                <c:pt idx="353">
                  <c:v>42593.677083333307</c:v>
                </c:pt>
                <c:pt idx="354">
                  <c:v>42593.6875</c:v>
                </c:pt>
                <c:pt idx="355">
                  <c:v>42593.69791666662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91</c:v>
                </c:pt>
                <c:pt idx="359">
                  <c:v>42593.739583333307</c:v>
                </c:pt>
                <c:pt idx="360">
                  <c:v>42593.75</c:v>
                </c:pt>
                <c:pt idx="361">
                  <c:v>42593.76041666662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91</c:v>
                </c:pt>
                <c:pt idx="365">
                  <c:v>42593.802083333336</c:v>
                </c:pt>
                <c:pt idx="366">
                  <c:v>42593.812500000029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29</c:v>
                </c:pt>
                <c:pt idx="376">
                  <c:v>42593.916666666657</c:v>
                </c:pt>
                <c:pt idx="377">
                  <c:v>42593.927083333307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62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62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62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621</c:v>
                </c:pt>
                <c:pt idx="398">
                  <c:v>42594.145833333336</c:v>
                </c:pt>
                <c:pt idx="399">
                  <c:v>42594.156250000029</c:v>
                </c:pt>
                <c:pt idx="400">
                  <c:v>42594.166666666621</c:v>
                </c:pt>
                <c:pt idx="401">
                  <c:v>42594.177083333307</c:v>
                </c:pt>
                <c:pt idx="402">
                  <c:v>42594.1875</c:v>
                </c:pt>
                <c:pt idx="403">
                  <c:v>42594.19791666662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91</c:v>
                </c:pt>
                <c:pt idx="407">
                  <c:v>42594.239583333307</c:v>
                </c:pt>
                <c:pt idx="408">
                  <c:v>42594.25</c:v>
                </c:pt>
                <c:pt idx="409">
                  <c:v>42594.26041666662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91</c:v>
                </c:pt>
                <c:pt idx="413">
                  <c:v>42594.302083333336</c:v>
                </c:pt>
                <c:pt idx="414">
                  <c:v>42594.312500000029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29</c:v>
                </c:pt>
                <c:pt idx="424">
                  <c:v>42594.416666666657</c:v>
                </c:pt>
                <c:pt idx="425">
                  <c:v>42594.427083333307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62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62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62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621</c:v>
                </c:pt>
                <c:pt idx="446">
                  <c:v>42594.645833333336</c:v>
                </c:pt>
                <c:pt idx="447">
                  <c:v>42594.656250000029</c:v>
                </c:pt>
                <c:pt idx="448">
                  <c:v>42594.666666666621</c:v>
                </c:pt>
                <c:pt idx="449">
                  <c:v>42594.677083333307</c:v>
                </c:pt>
                <c:pt idx="450">
                  <c:v>42594.6875</c:v>
                </c:pt>
                <c:pt idx="451">
                  <c:v>42594.69791666662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91</c:v>
                </c:pt>
                <c:pt idx="455">
                  <c:v>42594.739583333307</c:v>
                </c:pt>
                <c:pt idx="456">
                  <c:v>42594.75</c:v>
                </c:pt>
                <c:pt idx="457">
                  <c:v>42594.76041666662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91</c:v>
                </c:pt>
                <c:pt idx="461">
                  <c:v>42594.802083333336</c:v>
                </c:pt>
                <c:pt idx="462">
                  <c:v>42594.812500000029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29</c:v>
                </c:pt>
                <c:pt idx="472">
                  <c:v>42594.916666666657</c:v>
                </c:pt>
                <c:pt idx="473">
                  <c:v>42594.927083333307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62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62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62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621</c:v>
                </c:pt>
                <c:pt idx="494">
                  <c:v>42595.145833333336</c:v>
                </c:pt>
                <c:pt idx="495">
                  <c:v>42595.156250000029</c:v>
                </c:pt>
                <c:pt idx="496">
                  <c:v>42595.166666666621</c:v>
                </c:pt>
                <c:pt idx="497">
                  <c:v>42595.177083333307</c:v>
                </c:pt>
                <c:pt idx="498">
                  <c:v>42595.1875</c:v>
                </c:pt>
                <c:pt idx="499">
                  <c:v>42595.19791666662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91</c:v>
                </c:pt>
                <c:pt idx="503">
                  <c:v>42595.239583333307</c:v>
                </c:pt>
                <c:pt idx="504">
                  <c:v>42595.25</c:v>
                </c:pt>
                <c:pt idx="505">
                  <c:v>42595.26041666662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91</c:v>
                </c:pt>
                <c:pt idx="509">
                  <c:v>42595.302083333336</c:v>
                </c:pt>
                <c:pt idx="510">
                  <c:v>42595.312500000029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29</c:v>
                </c:pt>
                <c:pt idx="520">
                  <c:v>42595.416666666657</c:v>
                </c:pt>
                <c:pt idx="521">
                  <c:v>42595.427083333307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62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62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62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621</c:v>
                </c:pt>
                <c:pt idx="542">
                  <c:v>42595.645833333336</c:v>
                </c:pt>
                <c:pt idx="543">
                  <c:v>42595.656250000029</c:v>
                </c:pt>
                <c:pt idx="544">
                  <c:v>42595.666666666621</c:v>
                </c:pt>
                <c:pt idx="545">
                  <c:v>42595.677083333307</c:v>
                </c:pt>
                <c:pt idx="546">
                  <c:v>42595.6875</c:v>
                </c:pt>
                <c:pt idx="547">
                  <c:v>42595.69791666662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91</c:v>
                </c:pt>
                <c:pt idx="551">
                  <c:v>42595.739583333307</c:v>
                </c:pt>
                <c:pt idx="552">
                  <c:v>42595.75</c:v>
                </c:pt>
                <c:pt idx="553">
                  <c:v>42595.76041666662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91</c:v>
                </c:pt>
                <c:pt idx="557">
                  <c:v>42595.802083333336</c:v>
                </c:pt>
                <c:pt idx="558">
                  <c:v>42595.812500000029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29</c:v>
                </c:pt>
                <c:pt idx="568">
                  <c:v>42595.916666666657</c:v>
                </c:pt>
                <c:pt idx="569">
                  <c:v>42595.927083333307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62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62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62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621</c:v>
                </c:pt>
                <c:pt idx="590">
                  <c:v>42596.145833333336</c:v>
                </c:pt>
                <c:pt idx="591">
                  <c:v>42596.156250000029</c:v>
                </c:pt>
                <c:pt idx="592">
                  <c:v>42596.166666666621</c:v>
                </c:pt>
                <c:pt idx="593">
                  <c:v>42596.177083333307</c:v>
                </c:pt>
                <c:pt idx="594">
                  <c:v>42596.1875</c:v>
                </c:pt>
                <c:pt idx="595">
                  <c:v>42596.19791666662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91</c:v>
                </c:pt>
                <c:pt idx="599">
                  <c:v>42596.239583333307</c:v>
                </c:pt>
                <c:pt idx="600">
                  <c:v>42596.25</c:v>
                </c:pt>
                <c:pt idx="601">
                  <c:v>42596.26041666662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91</c:v>
                </c:pt>
                <c:pt idx="605">
                  <c:v>42596.302083333336</c:v>
                </c:pt>
                <c:pt idx="606">
                  <c:v>42596.312500000029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29</c:v>
                </c:pt>
                <c:pt idx="616">
                  <c:v>42596.416666666657</c:v>
                </c:pt>
                <c:pt idx="617">
                  <c:v>42596.427083333307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62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62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62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621</c:v>
                </c:pt>
                <c:pt idx="638">
                  <c:v>42596.645833333336</c:v>
                </c:pt>
                <c:pt idx="639">
                  <c:v>42596.656250000029</c:v>
                </c:pt>
                <c:pt idx="640">
                  <c:v>42596.666666666621</c:v>
                </c:pt>
                <c:pt idx="641">
                  <c:v>42596.677083333307</c:v>
                </c:pt>
                <c:pt idx="642">
                  <c:v>42596.6875</c:v>
                </c:pt>
                <c:pt idx="643">
                  <c:v>42596.69791666662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91</c:v>
                </c:pt>
                <c:pt idx="647">
                  <c:v>42596.739583333307</c:v>
                </c:pt>
                <c:pt idx="648">
                  <c:v>42596.75</c:v>
                </c:pt>
                <c:pt idx="649">
                  <c:v>42596.76041666662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91</c:v>
                </c:pt>
                <c:pt idx="653">
                  <c:v>42596.802083333336</c:v>
                </c:pt>
                <c:pt idx="654">
                  <c:v>42596.812500000029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29</c:v>
                </c:pt>
                <c:pt idx="664">
                  <c:v>42596.916666666657</c:v>
                </c:pt>
                <c:pt idx="665">
                  <c:v>42596.927083333307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62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62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62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621</c:v>
                </c:pt>
                <c:pt idx="686">
                  <c:v>42597.145833333336</c:v>
                </c:pt>
                <c:pt idx="687">
                  <c:v>42597.156250000029</c:v>
                </c:pt>
                <c:pt idx="688">
                  <c:v>42597.166666666621</c:v>
                </c:pt>
                <c:pt idx="689">
                  <c:v>42597.177083333307</c:v>
                </c:pt>
                <c:pt idx="690">
                  <c:v>42597.1875</c:v>
                </c:pt>
                <c:pt idx="691">
                  <c:v>42597.19791666662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91</c:v>
                </c:pt>
                <c:pt idx="695">
                  <c:v>42597.239583333307</c:v>
                </c:pt>
                <c:pt idx="696">
                  <c:v>42597.25</c:v>
                </c:pt>
                <c:pt idx="697">
                  <c:v>42597.26041666662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91</c:v>
                </c:pt>
                <c:pt idx="701">
                  <c:v>42597.302083333336</c:v>
                </c:pt>
                <c:pt idx="702">
                  <c:v>42597.312500000029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29</c:v>
                </c:pt>
                <c:pt idx="712">
                  <c:v>42597.416666666657</c:v>
                </c:pt>
                <c:pt idx="713">
                  <c:v>42597.427083333307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62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62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62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621</c:v>
                </c:pt>
                <c:pt idx="734">
                  <c:v>42597.645833333336</c:v>
                </c:pt>
                <c:pt idx="735">
                  <c:v>42597.656250000029</c:v>
                </c:pt>
                <c:pt idx="736">
                  <c:v>42597.666666666621</c:v>
                </c:pt>
                <c:pt idx="737">
                  <c:v>42597.677083333307</c:v>
                </c:pt>
                <c:pt idx="738">
                  <c:v>42597.6875</c:v>
                </c:pt>
                <c:pt idx="739">
                  <c:v>42597.69791666662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91</c:v>
                </c:pt>
                <c:pt idx="743">
                  <c:v>42597.739583333307</c:v>
                </c:pt>
                <c:pt idx="744">
                  <c:v>42597.75</c:v>
                </c:pt>
                <c:pt idx="745">
                  <c:v>42597.76041666662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91</c:v>
                </c:pt>
                <c:pt idx="749">
                  <c:v>42597.802083333336</c:v>
                </c:pt>
                <c:pt idx="750">
                  <c:v>42597.812500000029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29</c:v>
                </c:pt>
                <c:pt idx="760">
                  <c:v>42597.916666666657</c:v>
                </c:pt>
                <c:pt idx="761">
                  <c:v>42597.927083333307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62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62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62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621</c:v>
                </c:pt>
                <c:pt idx="782">
                  <c:v>42598.145833333336</c:v>
                </c:pt>
                <c:pt idx="783">
                  <c:v>42598.156250000029</c:v>
                </c:pt>
                <c:pt idx="784">
                  <c:v>42598.166666666621</c:v>
                </c:pt>
                <c:pt idx="785">
                  <c:v>42598.177083333307</c:v>
                </c:pt>
                <c:pt idx="786">
                  <c:v>42598.1875</c:v>
                </c:pt>
                <c:pt idx="787">
                  <c:v>42598.19791666662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91</c:v>
                </c:pt>
                <c:pt idx="791">
                  <c:v>42598.239583333307</c:v>
                </c:pt>
                <c:pt idx="792">
                  <c:v>42598.25</c:v>
                </c:pt>
                <c:pt idx="793">
                  <c:v>42598.26041666662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91</c:v>
                </c:pt>
                <c:pt idx="797">
                  <c:v>42598.302083333336</c:v>
                </c:pt>
                <c:pt idx="798">
                  <c:v>42598.312500000029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29</c:v>
                </c:pt>
                <c:pt idx="808">
                  <c:v>42598.416666666657</c:v>
                </c:pt>
                <c:pt idx="809">
                  <c:v>42598.427083333307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62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62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62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621</c:v>
                </c:pt>
                <c:pt idx="830">
                  <c:v>42598.645833333336</c:v>
                </c:pt>
                <c:pt idx="831">
                  <c:v>42598.656250000029</c:v>
                </c:pt>
                <c:pt idx="832">
                  <c:v>42598.666666666621</c:v>
                </c:pt>
                <c:pt idx="833">
                  <c:v>42598.677083333307</c:v>
                </c:pt>
                <c:pt idx="834">
                  <c:v>42598.6875</c:v>
                </c:pt>
                <c:pt idx="835">
                  <c:v>42598.69791666662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91</c:v>
                </c:pt>
                <c:pt idx="839">
                  <c:v>42598.739583333307</c:v>
                </c:pt>
                <c:pt idx="840">
                  <c:v>42598.75</c:v>
                </c:pt>
                <c:pt idx="841">
                  <c:v>42598.76041666662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91</c:v>
                </c:pt>
                <c:pt idx="845">
                  <c:v>42598.802083333336</c:v>
                </c:pt>
                <c:pt idx="846">
                  <c:v>42598.812500000029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29</c:v>
                </c:pt>
                <c:pt idx="856">
                  <c:v>42598.916666666657</c:v>
                </c:pt>
                <c:pt idx="857">
                  <c:v>42598.927083333307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62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E$4:$E$865</c:f>
              <c:numCache>
                <c:formatCode>General</c:formatCode>
                <c:ptCount val="862"/>
                <c:pt idx="0">
                  <c:v>1.8323688583220961</c:v>
                </c:pt>
                <c:pt idx="1">
                  <c:v>1.9577774602113529</c:v>
                </c:pt>
                <c:pt idx="2">
                  <c:v>2.1053221421650949</c:v>
                </c:pt>
                <c:pt idx="3">
                  <c:v>1.9085119598296238</c:v>
                </c:pt>
                <c:pt idx="4">
                  <c:v>1.7874230029612319</c:v>
                </c:pt>
                <c:pt idx="5">
                  <c:v>1.728213200994305</c:v>
                </c:pt>
                <c:pt idx="6">
                  <c:v>2.1975793295559942</c:v>
                </c:pt>
                <c:pt idx="7">
                  <c:v>1.619605491256912</c:v>
                </c:pt>
                <c:pt idx="8">
                  <c:v>2.154657600596817</c:v>
                </c:pt>
                <c:pt idx="9">
                  <c:v>2.2453123911793518</c:v>
                </c:pt>
                <c:pt idx="10">
                  <c:v>2.1642254682057871</c:v>
                </c:pt>
                <c:pt idx="11">
                  <c:v>2.247554416010705</c:v>
                </c:pt>
                <c:pt idx="12">
                  <c:v>2.23435878764572</c:v>
                </c:pt>
                <c:pt idx="13">
                  <c:v>2.272675648844908</c:v>
                </c:pt>
                <c:pt idx="14">
                  <c:v>2.2063182011090579</c:v>
                </c:pt>
                <c:pt idx="15">
                  <c:v>2.2412949552909769</c:v>
                </c:pt>
                <c:pt idx="16">
                  <c:v>2.1326930405004938</c:v>
                </c:pt>
                <c:pt idx="17">
                  <c:v>2.1088377313105839</c:v>
                </c:pt>
                <c:pt idx="18">
                  <c:v>2.1378027133780027</c:v>
                </c:pt>
                <c:pt idx="19">
                  <c:v>2.5312616105851737</c:v>
                </c:pt>
                <c:pt idx="20">
                  <c:v>2.5531108989556572</c:v>
                </c:pt>
                <c:pt idx="21">
                  <c:v>2.3327363796863141</c:v>
                </c:pt>
                <c:pt idx="22">
                  <c:v>2.3482222873924812</c:v>
                </c:pt>
                <c:pt idx="23">
                  <c:v>2.3482222873924812</c:v>
                </c:pt>
                <c:pt idx="24">
                  <c:v>2.2153516242429241</c:v>
                </c:pt>
                <c:pt idx="25">
                  <c:v>2.2020860044570978</c:v>
                </c:pt>
                <c:pt idx="26">
                  <c:v>2.1892419043149509</c:v>
                </c:pt>
                <c:pt idx="27">
                  <c:v>2.210667247601295</c:v>
                </c:pt>
                <c:pt idx="28">
                  <c:v>2.7864901698421711</c:v>
                </c:pt>
                <c:pt idx="29">
                  <c:v>14.324014337349801</c:v>
                </c:pt>
                <c:pt idx="30">
                  <c:v>16.003945238679499</c:v>
                </c:pt>
                <c:pt idx="31">
                  <c:v>16.021731442247244</c:v>
                </c:pt>
                <c:pt idx="32">
                  <c:v>16.796317296528279</c:v>
                </c:pt>
                <c:pt idx="33">
                  <c:v>17.107706817397887</c:v>
                </c:pt>
                <c:pt idx="34">
                  <c:v>16.788325582607619</c:v>
                </c:pt>
                <c:pt idx="35">
                  <c:v>16.682823596760755</c:v>
                </c:pt>
                <c:pt idx="36">
                  <c:v>14.871046965867988</c:v>
                </c:pt>
                <c:pt idx="37">
                  <c:v>14.356643039433727</c:v>
                </c:pt>
                <c:pt idx="38">
                  <c:v>9.2671269663017011</c:v>
                </c:pt>
                <c:pt idx="39">
                  <c:v>3.0043137474968216</c:v>
                </c:pt>
                <c:pt idx="40">
                  <c:v>0.9405272592956827</c:v>
                </c:pt>
                <c:pt idx="41">
                  <c:v>0.21941339276341529</c:v>
                </c:pt>
                <c:pt idx="42">
                  <c:v>-0.31724963992921346</c:v>
                </c:pt>
                <c:pt idx="43">
                  <c:v>29.00191147356696</c:v>
                </c:pt>
                <c:pt idx="44">
                  <c:v>4.4348759881823687</c:v>
                </c:pt>
                <c:pt idx="45">
                  <c:v>4.560237435377906</c:v>
                </c:pt>
                <c:pt idx="46">
                  <c:v>28.073264177942121</c:v>
                </c:pt>
                <c:pt idx="47">
                  <c:v>3.7571596667491951</c:v>
                </c:pt>
                <c:pt idx="48">
                  <c:v>27.936388320116514</c:v>
                </c:pt>
                <c:pt idx="49">
                  <c:v>28.093684574026572</c:v>
                </c:pt>
                <c:pt idx="50">
                  <c:v>3.9276904103518739</c:v>
                </c:pt>
                <c:pt idx="51">
                  <c:v>28.8634888122094</c:v>
                </c:pt>
                <c:pt idx="52">
                  <c:v>11.121646057908071</c:v>
                </c:pt>
                <c:pt idx="53">
                  <c:v>1.4386486911958558</c:v>
                </c:pt>
                <c:pt idx="54">
                  <c:v>29.743865966191091</c:v>
                </c:pt>
                <c:pt idx="55">
                  <c:v>25.773548258803064</c:v>
                </c:pt>
                <c:pt idx="56">
                  <c:v>3.7763969558331101</c:v>
                </c:pt>
                <c:pt idx="57">
                  <c:v>30.369955353008294</c:v>
                </c:pt>
                <c:pt idx="58">
                  <c:v>30.448952304726589</c:v>
                </c:pt>
                <c:pt idx="59">
                  <c:v>28.757127322195601</c:v>
                </c:pt>
                <c:pt idx="60">
                  <c:v>3.6424831139162284</c:v>
                </c:pt>
                <c:pt idx="61">
                  <c:v>30.585129775748111</c:v>
                </c:pt>
                <c:pt idx="62">
                  <c:v>30.448952304726589</c:v>
                </c:pt>
                <c:pt idx="63">
                  <c:v>3.4142824808810492</c:v>
                </c:pt>
                <c:pt idx="64">
                  <c:v>30.09424175163316</c:v>
                </c:pt>
                <c:pt idx="65">
                  <c:v>27.848376089267681</c:v>
                </c:pt>
                <c:pt idx="66">
                  <c:v>2.241172599710235</c:v>
                </c:pt>
                <c:pt idx="67">
                  <c:v>0.9712227073937596</c:v>
                </c:pt>
                <c:pt idx="68">
                  <c:v>0.78868178999529981</c:v>
                </c:pt>
                <c:pt idx="69">
                  <c:v>0.42087364890229995</c:v>
                </c:pt>
                <c:pt idx="70">
                  <c:v>0.14296145702815871</c:v>
                </c:pt>
                <c:pt idx="71">
                  <c:v>-5.3989903661613381E-2</c:v>
                </c:pt>
                <c:pt idx="72">
                  <c:v>0.49329105082146335</c:v>
                </c:pt>
                <c:pt idx="73">
                  <c:v>0.45165159122597198</c:v>
                </c:pt>
                <c:pt idx="74">
                  <c:v>0.45165159122597198</c:v>
                </c:pt>
                <c:pt idx="75">
                  <c:v>8.5755963079649167</c:v>
                </c:pt>
                <c:pt idx="76">
                  <c:v>25.707901908979032</c:v>
                </c:pt>
                <c:pt idx="77">
                  <c:v>26.340860901836223</c:v>
                </c:pt>
                <c:pt idx="78">
                  <c:v>8.4451949522524163</c:v>
                </c:pt>
                <c:pt idx="79">
                  <c:v>10.434672625258571</c:v>
                </c:pt>
                <c:pt idx="80">
                  <c:v>26.867035565614131</c:v>
                </c:pt>
                <c:pt idx="81">
                  <c:v>7.0447747913103234</c:v>
                </c:pt>
                <c:pt idx="82">
                  <c:v>16.06293910861072</c:v>
                </c:pt>
                <c:pt idx="83">
                  <c:v>17.161250137288203</c:v>
                </c:pt>
                <c:pt idx="84">
                  <c:v>16.337874747866994</c:v>
                </c:pt>
                <c:pt idx="85">
                  <c:v>-0.41100360076228132</c:v>
                </c:pt>
                <c:pt idx="86">
                  <c:v>-0.29107266639940632</c:v>
                </c:pt>
                <c:pt idx="87">
                  <c:v>-0.27006188083643118</c:v>
                </c:pt>
                <c:pt idx="88">
                  <c:v>-0.15180334548009042</c:v>
                </c:pt>
                <c:pt idx="89">
                  <c:v>5.0959999262814804E-2</c:v>
                </c:pt>
                <c:pt idx="90">
                  <c:v>0.58017277009117951</c:v>
                </c:pt>
                <c:pt idx="91">
                  <c:v>0.68617838506974649</c:v>
                </c:pt>
                <c:pt idx="92">
                  <c:v>0.9428921046397859</c:v>
                </c:pt>
                <c:pt idx="93">
                  <c:v>1.3566862461430931</c:v>
                </c:pt>
                <c:pt idx="94">
                  <c:v>1.4911486436856598</c:v>
                </c:pt>
                <c:pt idx="95">
                  <c:v>1.490661989982019</c:v>
                </c:pt>
                <c:pt idx="96">
                  <c:v>1.781259007196162</c:v>
                </c:pt>
                <c:pt idx="97">
                  <c:v>1.8558275320381958</c:v>
                </c:pt>
                <c:pt idx="98">
                  <c:v>1.8017664862660279</c:v>
                </c:pt>
                <c:pt idx="99">
                  <c:v>1.8999096878044102</c:v>
                </c:pt>
                <c:pt idx="100">
                  <c:v>1.5878460818538409</c:v>
                </c:pt>
                <c:pt idx="101">
                  <c:v>1.83729501255669</c:v>
                </c:pt>
                <c:pt idx="102">
                  <c:v>1.8358971803336011</c:v>
                </c:pt>
                <c:pt idx="103">
                  <c:v>1.8909028201521649</c:v>
                </c:pt>
                <c:pt idx="104">
                  <c:v>2.1224771007773797</c:v>
                </c:pt>
                <c:pt idx="105">
                  <c:v>2.1383255657298208</c:v>
                </c:pt>
                <c:pt idx="106">
                  <c:v>2.2712009144652781</c:v>
                </c:pt>
                <c:pt idx="107">
                  <c:v>2.1040646396376199</c:v>
                </c:pt>
                <c:pt idx="108">
                  <c:v>1.935188447318634</c:v>
                </c:pt>
                <c:pt idx="109">
                  <c:v>1.8433343845667141</c:v>
                </c:pt>
                <c:pt idx="110">
                  <c:v>1.8645176825276051</c:v>
                </c:pt>
                <c:pt idx="111">
                  <c:v>1.8645176825276051</c:v>
                </c:pt>
                <c:pt idx="112">
                  <c:v>1.5102065375598239</c:v>
                </c:pt>
                <c:pt idx="113">
                  <c:v>1.5421476557191822</c:v>
                </c:pt>
                <c:pt idx="114">
                  <c:v>1.5578779585495199</c:v>
                </c:pt>
                <c:pt idx="115">
                  <c:v>1.377298580506118</c:v>
                </c:pt>
                <c:pt idx="116">
                  <c:v>1.2213200717143982</c:v>
                </c:pt>
                <c:pt idx="117">
                  <c:v>1.2309698182963802</c:v>
                </c:pt>
                <c:pt idx="118">
                  <c:v>1.0880186897155188</c:v>
                </c:pt>
                <c:pt idx="119">
                  <c:v>1.128137823012805</c:v>
                </c:pt>
                <c:pt idx="120">
                  <c:v>0.95112041899156663</c:v>
                </c:pt>
                <c:pt idx="121">
                  <c:v>1.1530059251842568</c:v>
                </c:pt>
                <c:pt idx="122">
                  <c:v>1.1892646361910799</c:v>
                </c:pt>
                <c:pt idx="123">
                  <c:v>1.4586528564583561</c:v>
                </c:pt>
                <c:pt idx="124">
                  <c:v>1.740509194134517</c:v>
                </c:pt>
                <c:pt idx="125">
                  <c:v>8.363000148275372</c:v>
                </c:pt>
                <c:pt idx="126">
                  <c:v>9.95100348897423</c:v>
                </c:pt>
                <c:pt idx="127">
                  <c:v>11.278049406054569</c:v>
                </c:pt>
                <c:pt idx="128">
                  <c:v>12.205904936234862</c:v>
                </c:pt>
                <c:pt idx="129">
                  <c:v>14.043387305715161</c:v>
                </c:pt>
                <c:pt idx="130">
                  <c:v>14.22377331462522</c:v>
                </c:pt>
                <c:pt idx="131">
                  <c:v>15.22913863421023</c:v>
                </c:pt>
                <c:pt idx="132">
                  <c:v>16.008811465102255</c:v>
                </c:pt>
                <c:pt idx="133">
                  <c:v>16.541206848297229</c:v>
                </c:pt>
                <c:pt idx="134">
                  <c:v>17.106376646871428</c:v>
                </c:pt>
                <c:pt idx="135">
                  <c:v>17.728934470389689</c:v>
                </c:pt>
                <c:pt idx="136">
                  <c:v>17.93084787836602</c:v>
                </c:pt>
                <c:pt idx="137">
                  <c:v>16.634173644699835</c:v>
                </c:pt>
                <c:pt idx="138">
                  <c:v>13.370870097276789</c:v>
                </c:pt>
                <c:pt idx="139">
                  <c:v>10.43208839529022</c:v>
                </c:pt>
                <c:pt idx="140">
                  <c:v>9.3294683290536504</c:v>
                </c:pt>
                <c:pt idx="141">
                  <c:v>2.2090362685397604</c:v>
                </c:pt>
                <c:pt idx="142">
                  <c:v>-0.51258461290271251</c:v>
                </c:pt>
                <c:pt idx="143">
                  <c:v>-4.0856333318798246</c:v>
                </c:pt>
                <c:pt idx="144">
                  <c:v>2.1241714523719257</c:v>
                </c:pt>
                <c:pt idx="145">
                  <c:v>28.155209949718628</c:v>
                </c:pt>
                <c:pt idx="146">
                  <c:v>4.8189105280840687</c:v>
                </c:pt>
                <c:pt idx="147">
                  <c:v>5.7045771296156076</c:v>
                </c:pt>
                <c:pt idx="148">
                  <c:v>28.49216375230592</c:v>
                </c:pt>
                <c:pt idx="149">
                  <c:v>5.5264139468825206</c:v>
                </c:pt>
                <c:pt idx="150">
                  <c:v>4.560237435377906</c:v>
                </c:pt>
                <c:pt idx="151">
                  <c:v>28.083241354034989</c:v>
                </c:pt>
                <c:pt idx="152">
                  <c:v>2.319854555074444</c:v>
                </c:pt>
                <c:pt idx="153">
                  <c:v>29.408485799497999</c:v>
                </c:pt>
                <c:pt idx="154">
                  <c:v>7.4380912321770634</c:v>
                </c:pt>
                <c:pt idx="155">
                  <c:v>4.4195906314315581</c:v>
                </c:pt>
                <c:pt idx="156">
                  <c:v>29.556653014592431</c:v>
                </c:pt>
                <c:pt idx="157">
                  <c:v>6.1387190735182644</c:v>
                </c:pt>
                <c:pt idx="158">
                  <c:v>28.95089584731031</c:v>
                </c:pt>
                <c:pt idx="159">
                  <c:v>28.366610345400336</c:v>
                </c:pt>
                <c:pt idx="160">
                  <c:v>4.9060365023223103</c:v>
                </c:pt>
                <c:pt idx="161">
                  <c:v>28.780144117876379</c:v>
                </c:pt>
                <c:pt idx="162">
                  <c:v>2.3429687786707869</c:v>
                </c:pt>
                <c:pt idx="163">
                  <c:v>1.161860910077914</c:v>
                </c:pt>
                <c:pt idx="164">
                  <c:v>0.31405683848146931</c:v>
                </c:pt>
                <c:pt idx="165">
                  <c:v>-6.383385065538992E-2</c:v>
                </c:pt>
                <c:pt idx="166">
                  <c:v>-8.2626062281406842E-2</c:v>
                </c:pt>
                <c:pt idx="167">
                  <c:v>0.29260861852898312</c:v>
                </c:pt>
                <c:pt idx="168">
                  <c:v>-0.31834342122690951</c:v>
                </c:pt>
                <c:pt idx="169">
                  <c:v>1.3214339946902761E-2</c:v>
                </c:pt>
                <c:pt idx="170">
                  <c:v>0.25911750911422471</c:v>
                </c:pt>
                <c:pt idx="171">
                  <c:v>14.099610050024159</c:v>
                </c:pt>
                <c:pt idx="172">
                  <c:v>13.228412620107971</c:v>
                </c:pt>
                <c:pt idx="173">
                  <c:v>14.827410434448971</c:v>
                </c:pt>
                <c:pt idx="174">
                  <c:v>15.993844982163637</c:v>
                </c:pt>
                <c:pt idx="175">
                  <c:v>17.363517813321579</c:v>
                </c:pt>
                <c:pt idx="176">
                  <c:v>17.491312691082527</c:v>
                </c:pt>
                <c:pt idx="177">
                  <c:v>17.669253315083061</c:v>
                </c:pt>
                <c:pt idx="178">
                  <c:v>17.572466853174646</c:v>
                </c:pt>
                <c:pt idx="179">
                  <c:v>18.263648352253597</c:v>
                </c:pt>
                <c:pt idx="180">
                  <c:v>18.225383278781678</c:v>
                </c:pt>
                <c:pt idx="181">
                  <c:v>0.76675082863373556</c:v>
                </c:pt>
                <c:pt idx="182">
                  <c:v>0.17604814127099896</c:v>
                </c:pt>
                <c:pt idx="183">
                  <c:v>-0.12864899506485561</c:v>
                </c:pt>
                <c:pt idx="184">
                  <c:v>6.2494767765868389E-2</c:v>
                </c:pt>
                <c:pt idx="185">
                  <c:v>0.42750890938316466</c:v>
                </c:pt>
                <c:pt idx="186">
                  <c:v>0.76140016977267166</c:v>
                </c:pt>
                <c:pt idx="187">
                  <c:v>1.1713178571902949</c:v>
                </c:pt>
                <c:pt idx="188">
                  <c:v>1.2789929007643039</c:v>
                </c:pt>
                <c:pt idx="189">
                  <c:v>1.6740078790100028</c:v>
                </c:pt>
                <c:pt idx="190">
                  <c:v>1.7426601133159938</c:v>
                </c:pt>
                <c:pt idx="191">
                  <c:v>2.0577134669065811</c:v>
                </c:pt>
                <c:pt idx="192">
                  <c:v>2.028803392573113</c:v>
                </c:pt>
                <c:pt idx="193">
                  <c:v>1.883789492768031</c:v>
                </c:pt>
                <c:pt idx="194">
                  <c:v>2.1024619595231493</c:v>
                </c:pt>
                <c:pt idx="195">
                  <c:v>1.9912662456073922</c:v>
                </c:pt>
                <c:pt idx="196">
                  <c:v>1.923626926409449</c:v>
                </c:pt>
                <c:pt idx="197">
                  <c:v>1.9408259027310168</c:v>
                </c:pt>
                <c:pt idx="198">
                  <c:v>1.783673332435751</c:v>
                </c:pt>
                <c:pt idx="199">
                  <c:v>1.783673332435751</c:v>
                </c:pt>
                <c:pt idx="200">
                  <c:v>1.9075992149882999</c:v>
                </c:pt>
                <c:pt idx="201">
                  <c:v>1.7191091662568729</c:v>
                </c:pt>
                <c:pt idx="202">
                  <c:v>1.5299978875730218</c:v>
                </c:pt>
                <c:pt idx="203">
                  <c:v>1.3447313387539479</c:v>
                </c:pt>
                <c:pt idx="204">
                  <c:v>1.621709499471095</c:v>
                </c:pt>
                <c:pt idx="205">
                  <c:v>1.462194200581554</c:v>
                </c:pt>
                <c:pt idx="206">
                  <c:v>1.7668141974702718</c:v>
                </c:pt>
                <c:pt idx="207">
                  <c:v>1.5970678130822671</c:v>
                </c:pt>
                <c:pt idx="208">
                  <c:v>1.5970678130822671</c:v>
                </c:pt>
                <c:pt idx="209">
                  <c:v>1.50154778148059</c:v>
                </c:pt>
                <c:pt idx="210">
                  <c:v>1.5090472138117919</c:v>
                </c:pt>
                <c:pt idx="211">
                  <c:v>1.517314740138155</c:v>
                </c:pt>
                <c:pt idx="212">
                  <c:v>1.5362087510835341</c:v>
                </c:pt>
                <c:pt idx="213">
                  <c:v>1.546860422368459</c:v>
                </c:pt>
                <c:pt idx="214">
                  <c:v>1.546860422368459</c:v>
                </c:pt>
                <c:pt idx="215">
                  <c:v>1.9496000279086421</c:v>
                </c:pt>
                <c:pt idx="216">
                  <c:v>1.9676437210355169</c:v>
                </c:pt>
                <c:pt idx="217">
                  <c:v>1.9865456167067534</c:v>
                </c:pt>
                <c:pt idx="218">
                  <c:v>2.5654629808999987</c:v>
                </c:pt>
                <c:pt idx="219">
                  <c:v>2.6478882546385738</c:v>
                </c:pt>
                <c:pt idx="220">
                  <c:v>2.7068179398390941</c:v>
                </c:pt>
                <c:pt idx="221">
                  <c:v>7.4892422656480431</c:v>
                </c:pt>
                <c:pt idx="222">
                  <c:v>10.385733155588325</c:v>
                </c:pt>
                <c:pt idx="223">
                  <c:v>11.094176001379882</c:v>
                </c:pt>
                <c:pt idx="224">
                  <c:v>11.504502595078922</c:v>
                </c:pt>
                <c:pt idx="225">
                  <c:v>12.23379750933046</c:v>
                </c:pt>
                <c:pt idx="226">
                  <c:v>13.369070039201372</c:v>
                </c:pt>
                <c:pt idx="227">
                  <c:v>13.11542092837686</c:v>
                </c:pt>
                <c:pt idx="228">
                  <c:v>14.298661975687418</c:v>
                </c:pt>
                <c:pt idx="229">
                  <c:v>14.771177872025239</c:v>
                </c:pt>
                <c:pt idx="230">
                  <c:v>15.225494196977367</c:v>
                </c:pt>
                <c:pt idx="231">
                  <c:v>16.232388039179636</c:v>
                </c:pt>
                <c:pt idx="232">
                  <c:v>17.474124071099212</c:v>
                </c:pt>
                <c:pt idx="233">
                  <c:v>18.0078179952582</c:v>
                </c:pt>
                <c:pt idx="234">
                  <c:v>18.280232186274596</c:v>
                </c:pt>
                <c:pt idx="235">
                  <c:v>18.130690884069889</c:v>
                </c:pt>
                <c:pt idx="236">
                  <c:v>18.276193836109275</c:v>
                </c:pt>
                <c:pt idx="237">
                  <c:v>16.077849243125627</c:v>
                </c:pt>
                <c:pt idx="238">
                  <c:v>13.066467370086057</c:v>
                </c:pt>
                <c:pt idx="239">
                  <c:v>5.3737644916162672</c:v>
                </c:pt>
                <c:pt idx="240">
                  <c:v>2.6169197527463912</c:v>
                </c:pt>
                <c:pt idx="241">
                  <c:v>1.0472865289287989</c:v>
                </c:pt>
                <c:pt idx="242">
                  <c:v>7.3545081038473023E-3</c:v>
                </c:pt>
                <c:pt idx="243">
                  <c:v>-1.724833460739726</c:v>
                </c:pt>
                <c:pt idx="244">
                  <c:v>24.5346970255166</c:v>
                </c:pt>
                <c:pt idx="245">
                  <c:v>9.4217899734932686</c:v>
                </c:pt>
                <c:pt idx="246">
                  <c:v>7.4478291113770894</c:v>
                </c:pt>
                <c:pt idx="247">
                  <c:v>7.2566401057141832</c:v>
                </c:pt>
                <c:pt idx="248">
                  <c:v>14.23139483374378</c:v>
                </c:pt>
                <c:pt idx="249">
                  <c:v>15.18508114297793</c:v>
                </c:pt>
                <c:pt idx="250">
                  <c:v>5.5210592818538275</c:v>
                </c:pt>
                <c:pt idx="251">
                  <c:v>6.5346127093771571</c:v>
                </c:pt>
                <c:pt idx="252">
                  <c:v>27.956690992891257</c:v>
                </c:pt>
                <c:pt idx="253">
                  <c:v>5.5310221992237842</c:v>
                </c:pt>
                <c:pt idx="254">
                  <c:v>5.5386517602566805</c:v>
                </c:pt>
                <c:pt idx="255">
                  <c:v>29.330683859750234</c:v>
                </c:pt>
                <c:pt idx="256">
                  <c:v>5.7333068159489624</c:v>
                </c:pt>
                <c:pt idx="257">
                  <c:v>4.2995352203404149</c:v>
                </c:pt>
                <c:pt idx="258">
                  <c:v>-1.5168747123541473</c:v>
                </c:pt>
                <c:pt idx="259">
                  <c:v>-1.928038340483174</c:v>
                </c:pt>
                <c:pt idx="260">
                  <c:v>-1.7931326558583518</c:v>
                </c:pt>
                <c:pt idx="261">
                  <c:v>-1.9046269346035025</c:v>
                </c:pt>
                <c:pt idx="262">
                  <c:v>-1.8686584201341281</c:v>
                </c:pt>
                <c:pt idx="263">
                  <c:v>-1.7966855064285465</c:v>
                </c:pt>
                <c:pt idx="264">
                  <c:v>-1.8472176051795159</c:v>
                </c:pt>
                <c:pt idx="265">
                  <c:v>-1.822926228483351</c:v>
                </c:pt>
                <c:pt idx="266">
                  <c:v>-1.8795115769816599</c:v>
                </c:pt>
                <c:pt idx="267">
                  <c:v>-1.283242592084445</c:v>
                </c:pt>
                <c:pt idx="268">
                  <c:v>-4.7757568975092313E-2</c:v>
                </c:pt>
                <c:pt idx="269">
                  <c:v>1.3723217542403598</c:v>
                </c:pt>
                <c:pt idx="270">
                  <c:v>13.947373741798561</c:v>
                </c:pt>
                <c:pt idx="271">
                  <c:v>15.740159065582569</c:v>
                </c:pt>
                <c:pt idx="272">
                  <c:v>17.552541169292674</c:v>
                </c:pt>
                <c:pt idx="273">
                  <c:v>18.263749850013951</c:v>
                </c:pt>
                <c:pt idx="274">
                  <c:v>18.555127585059637</c:v>
                </c:pt>
                <c:pt idx="275">
                  <c:v>18.70687882614564</c:v>
                </c:pt>
                <c:pt idx="276">
                  <c:v>18.964057037358501</c:v>
                </c:pt>
                <c:pt idx="277">
                  <c:v>0.57287844102284702</c:v>
                </c:pt>
                <c:pt idx="278">
                  <c:v>0.28250352017830133</c:v>
                </c:pt>
                <c:pt idx="279">
                  <c:v>8.3250787379757663E-2</c:v>
                </c:pt>
                <c:pt idx="280">
                  <c:v>1.50006962526863E-2</c:v>
                </c:pt>
                <c:pt idx="281">
                  <c:v>0.23078020719783646</c:v>
                </c:pt>
                <c:pt idx="282">
                  <c:v>0.56077707476745453</c:v>
                </c:pt>
                <c:pt idx="283">
                  <c:v>0.49642221911160594</c:v>
                </c:pt>
                <c:pt idx="284">
                  <c:v>0.84291309767692668</c:v>
                </c:pt>
                <c:pt idx="285">
                  <c:v>0.87510040104656373</c:v>
                </c:pt>
                <c:pt idx="286">
                  <c:v>1.325360549659885</c:v>
                </c:pt>
                <c:pt idx="287">
                  <c:v>1.4520128183257499</c:v>
                </c:pt>
                <c:pt idx="288">
                  <c:v>1.9445727616959385</c:v>
                </c:pt>
                <c:pt idx="289">
                  <c:v>1.9882352981294718</c:v>
                </c:pt>
                <c:pt idx="290">
                  <c:v>1.8293825133171191</c:v>
                </c:pt>
                <c:pt idx="291">
                  <c:v>2.2958317575890086</c:v>
                </c:pt>
                <c:pt idx="292">
                  <c:v>2.2604665563644808</c:v>
                </c:pt>
                <c:pt idx="293">
                  <c:v>2.1960346850129739</c:v>
                </c:pt>
                <c:pt idx="294">
                  <c:v>2.6854773360640749</c:v>
                </c:pt>
                <c:pt idx="295">
                  <c:v>2.5658740928296138</c:v>
                </c:pt>
                <c:pt idx="296">
                  <c:v>2.6142335320421752</c:v>
                </c:pt>
                <c:pt idx="297">
                  <c:v>2.5810387254876872</c:v>
                </c:pt>
                <c:pt idx="298">
                  <c:v>2.6013970671287319</c:v>
                </c:pt>
                <c:pt idx="299">
                  <c:v>3.070388067110728</c:v>
                </c:pt>
                <c:pt idx="300">
                  <c:v>2.9271869034884941</c:v>
                </c:pt>
                <c:pt idx="301">
                  <c:v>2.8465801839436486</c:v>
                </c:pt>
                <c:pt idx="302">
                  <c:v>2.698023666318615</c:v>
                </c:pt>
                <c:pt idx="303">
                  <c:v>3.1830608500042512</c:v>
                </c:pt>
                <c:pt idx="304">
                  <c:v>3.1855079621058757</c:v>
                </c:pt>
                <c:pt idx="305">
                  <c:v>2.6944854701054397</c:v>
                </c:pt>
                <c:pt idx="306">
                  <c:v>2.6944854701054397</c:v>
                </c:pt>
                <c:pt idx="307">
                  <c:v>2.698023666318615</c:v>
                </c:pt>
                <c:pt idx="308">
                  <c:v>3.1830608500042512</c:v>
                </c:pt>
                <c:pt idx="309">
                  <c:v>3.1830608500042512</c:v>
                </c:pt>
                <c:pt idx="310">
                  <c:v>3.1830608500042512</c:v>
                </c:pt>
                <c:pt idx="311">
                  <c:v>3.1830608500042512</c:v>
                </c:pt>
                <c:pt idx="312">
                  <c:v>3.1855079621058757</c:v>
                </c:pt>
                <c:pt idx="313">
                  <c:v>3.014190457862401</c:v>
                </c:pt>
                <c:pt idx="314">
                  <c:v>3.1616838983558888</c:v>
                </c:pt>
                <c:pt idx="315">
                  <c:v>3.5347814882593402</c:v>
                </c:pt>
                <c:pt idx="316">
                  <c:v>3.5347814882593402</c:v>
                </c:pt>
                <c:pt idx="317">
                  <c:v>13.889961911044747</c:v>
                </c:pt>
                <c:pt idx="318">
                  <c:v>13.812038079363758</c:v>
                </c:pt>
                <c:pt idx="319">
                  <c:v>15.78045894336663</c:v>
                </c:pt>
                <c:pt idx="320">
                  <c:v>16.832656394247</c:v>
                </c:pt>
                <c:pt idx="321">
                  <c:v>17.399900121072385</c:v>
                </c:pt>
                <c:pt idx="322">
                  <c:v>17.111861792385934</c:v>
                </c:pt>
                <c:pt idx="323">
                  <c:v>17.272499317377694</c:v>
                </c:pt>
                <c:pt idx="324">
                  <c:v>15.990797469912501</c:v>
                </c:pt>
                <c:pt idx="325">
                  <c:v>16.406869131225619</c:v>
                </c:pt>
                <c:pt idx="326">
                  <c:v>15.814509082432769</c:v>
                </c:pt>
                <c:pt idx="327">
                  <c:v>13.644812107145738</c:v>
                </c:pt>
                <c:pt idx="328">
                  <c:v>12.308351383199881</c:v>
                </c:pt>
                <c:pt idx="329">
                  <c:v>13.8881771550826</c:v>
                </c:pt>
                <c:pt idx="330">
                  <c:v>13.943071595985819</c:v>
                </c:pt>
                <c:pt idx="331">
                  <c:v>7.2586799601095224</c:v>
                </c:pt>
                <c:pt idx="332">
                  <c:v>4.7984310135886981</c:v>
                </c:pt>
                <c:pt idx="333">
                  <c:v>26.855071707260691</c:v>
                </c:pt>
                <c:pt idx="334">
                  <c:v>8.121870233772702</c:v>
                </c:pt>
                <c:pt idx="335">
                  <c:v>4.4348759881823687</c:v>
                </c:pt>
                <c:pt idx="336">
                  <c:v>26.316242846441256</c:v>
                </c:pt>
                <c:pt idx="337">
                  <c:v>13.341849547770662</c:v>
                </c:pt>
                <c:pt idx="338">
                  <c:v>3.1242281178439111</c:v>
                </c:pt>
                <c:pt idx="339">
                  <c:v>29.40127765227956</c:v>
                </c:pt>
                <c:pt idx="340">
                  <c:v>29.576685492546233</c:v>
                </c:pt>
                <c:pt idx="341">
                  <c:v>3.3181889929342052</c:v>
                </c:pt>
                <c:pt idx="342">
                  <c:v>30.921193529498851</c:v>
                </c:pt>
                <c:pt idx="343">
                  <c:v>30.808831557738827</c:v>
                </c:pt>
                <c:pt idx="344">
                  <c:v>15.061371043911759</c:v>
                </c:pt>
                <c:pt idx="345">
                  <c:v>3.7167519481179272</c:v>
                </c:pt>
                <c:pt idx="346">
                  <c:v>32.112928490880911</c:v>
                </c:pt>
                <c:pt idx="347">
                  <c:v>29.948700747511424</c:v>
                </c:pt>
                <c:pt idx="348">
                  <c:v>5.7803585517810063</c:v>
                </c:pt>
                <c:pt idx="349">
                  <c:v>31.558143296746891</c:v>
                </c:pt>
                <c:pt idx="350">
                  <c:v>9.9837435825229068</c:v>
                </c:pt>
                <c:pt idx="351">
                  <c:v>3.5525942221751312</c:v>
                </c:pt>
                <c:pt idx="352">
                  <c:v>31.578560926991887</c:v>
                </c:pt>
                <c:pt idx="353">
                  <c:v>7.2306583167121889</c:v>
                </c:pt>
                <c:pt idx="354">
                  <c:v>-0.96680664808745431</c:v>
                </c:pt>
                <c:pt idx="355">
                  <c:v>-1.2868300356248719</c:v>
                </c:pt>
                <c:pt idx="356">
                  <c:v>-1.2826989178066739</c:v>
                </c:pt>
                <c:pt idx="357">
                  <c:v>-1.0635712550463874</c:v>
                </c:pt>
                <c:pt idx="358">
                  <c:v>-1.1402265632510529</c:v>
                </c:pt>
                <c:pt idx="359">
                  <c:v>-1.3342499728175079</c:v>
                </c:pt>
                <c:pt idx="360">
                  <c:v>-0.88172733747752741</c:v>
                </c:pt>
                <c:pt idx="361">
                  <c:v>-1.040179670606612</c:v>
                </c:pt>
                <c:pt idx="362">
                  <c:v>-1.088697430364336</c:v>
                </c:pt>
                <c:pt idx="363">
                  <c:v>3.6650679496975958</c:v>
                </c:pt>
                <c:pt idx="364">
                  <c:v>30.818148969606991</c:v>
                </c:pt>
                <c:pt idx="365">
                  <c:v>30.016643585398956</c:v>
                </c:pt>
                <c:pt idx="366">
                  <c:v>3.5131309371412822</c:v>
                </c:pt>
                <c:pt idx="367">
                  <c:v>28.757542628115594</c:v>
                </c:pt>
                <c:pt idx="368">
                  <c:v>16.661242101010288</c:v>
                </c:pt>
                <c:pt idx="369">
                  <c:v>5.4308350125866713</c:v>
                </c:pt>
                <c:pt idx="370">
                  <c:v>27.571524685940137</c:v>
                </c:pt>
                <c:pt idx="371">
                  <c:v>12.81323299027413</c:v>
                </c:pt>
                <c:pt idx="372">
                  <c:v>6.5032710997951924</c:v>
                </c:pt>
                <c:pt idx="373">
                  <c:v>-1.5792746511617899</c:v>
                </c:pt>
                <c:pt idx="374">
                  <c:v>-1.2774632803380837</c:v>
                </c:pt>
                <c:pt idx="375">
                  <c:v>-1.240159605082034</c:v>
                </c:pt>
                <c:pt idx="376">
                  <c:v>-1.2391366871383862</c:v>
                </c:pt>
                <c:pt idx="377">
                  <c:v>-0.97432903766273105</c:v>
                </c:pt>
                <c:pt idx="378">
                  <c:v>-0.60261531977393024</c:v>
                </c:pt>
                <c:pt idx="379">
                  <c:v>-0.42367452306504577</c:v>
                </c:pt>
                <c:pt idx="380">
                  <c:v>4.8520264266375415E-2</c:v>
                </c:pt>
                <c:pt idx="381">
                  <c:v>0.20831136089179361</c:v>
                </c:pt>
                <c:pt idx="382">
                  <c:v>0.7213561466833619</c:v>
                </c:pt>
                <c:pt idx="383">
                  <c:v>0.8429757501704026</c:v>
                </c:pt>
                <c:pt idx="384">
                  <c:v>1.3867371487877969</c:v>
                </c:pt>
                <c:pt idx="385">
                  <c:v>1.4123689071366299</c:v>
                </c:pt>
                <c:pt idx="386">
                  <c:v>1.4769528570710639</c:v>
                </c:pt>
                <c:pt idx="387">
                  <c:v>1.598547027883422</c:v>
                </c:pt>
                <c:pt idx="388">
                  <c:v>2.0512353325478467</c:v>
                </c:pt>
                <c:pt idx="389">
                  <c:v>2.0441268878439018</c:v>
                </c:pt>
                <c:pt idx="390">
                  <c:v>2.038999395344431</c:v>
                </c:pt>
                <c:pt idx="391">
                  <c:v>2.0194476972551798</c:v>
                </c:pt>
                <c:pt idx="392">
                  <c:v>2.1492140719444079</c:v>
                </c:pt>
                <c:pt idx="393">
                  <c:v>2.0668259907601798</c:v>
                </c:pt>
                <c:pt idx="394">
                  <c:v>2.2264418675910718</c:v>
                </c:pt>
                <c:pt idx="395">
                  <c:v>2.2264418675910718</c:v>
                </c:pt>
                <c:pt idx="396">
                  <c:v>2.575221180943926</c:v>
                </c:pt>
                <c:pt idx="397">
                  <c:v>2.6431472559625604</c:v>
                </c:pt>
                <c:pt idx="398">
                  <c:v>2.3968888566998721</c:v>
                </c:pt>
                <c:pt idx="399">
                  <c:v>2.4138601923701337</c:v>
                </c:pt>
                <c:pt idx="400">
                  <c:v>2.4312092934606788</c:v>
                </c:pt>
                <c:pt idx="401">
                  <c:v>2.2881403933238937</c:v>
                </c:pt>
                <c:pt idx="402">
                  <c:v>2.2881403933238937</c:v>
                </c:pt>
                <c:pt idx="403">
                  <c:v>2.3039985234259799</c:v>
                </c:pt>
                <c:pt idx="404">
                  <c:v>2.2152577621663196</c:v>
                </c:pt>
                <c:pt idx="405">
                  <c:v>2.059169188970138</c:v>
                </c:pt>
                <c:pt idx="406">
                  <c:v>2.2703743052472398</c:v>
                </c:pt>
                <c:pt idx="407">
                  <c:v>2.2703743052472398</c:v>
                </c:pt>
                <c:pt idx="408">
                  <c:v>2.1058526655597674</c:v>
                </c:pt>
                <c:pt idx="409">
                  <c:v>2.0281116189886346</c:v>
                </c:pt>
                <c:pt idx="410">
                  <c:v>2.1064190517667418</c:v>
                </c:pt>
                <c:pt idx="411">
                  <c:v>2.697510732047856</c:v>
                </c:pt>
                <c:pt idx="412">
                  <c:v>2.8874137024262141</c:v>
                </c:pt>
                <c:pt idx="413">
                  <c:v>14.45349351834521</c:v>
                </c:pt>
                <c:pt idx="414">
                  <c:v>16.434452052242531</c:v>
                </c:pt>
                <c:pt idx="415">
                  <c:v>16.259875012025599</c:v>
                </c:pt>
                <c:pt idx="416">
                  <c:v>16.129954394548129</c:v>
                </c:pt>
                <c:pt idx="417">
                  <c:v>14.131171239910911</c:v>
                </c:pt>
                <c:pt idx="418">
                  <c:v>12.349636269043552</c:v>
                </c:pt>
                <c:pt idx="419">
                  <c:v>7.8587584286087795</c:v>
                </c:pt>
                <c:pt idx="420">
                  <c:v>7.1592042451812459</c:v>
                </c:pt>
                <c:pt idx="421">
                  <c:v>6.3144174738021395</c:v>
                </c:pt>
                <c:pt idx="422">
                  <c:v>4.9935019192356993</c:v>
                </c:pt>
                <c:pt idx="423">
                  <c:v>3.2377472327346748</c:v>
                </c:pt>
                <c:pt idx="424">
                  <c:v>22.203789006869883</c:v>
                </c:pt>
                <c:pt idx="425">
                  <c:v>7.7606693887053302</c:v>
                </c:pt>
                <c:pt idx="426">
                  <c:v>4.4418133990647366</c:v>
                </c:pt>
                <c:pt idx="427">
                  <c:v>25.902959029067819</c:v>
                </c:pt>
                <c:pt idx="428">
                  <c:v>8.2150681238947634</c:v>
                </c:pt>
                <c:pt idx="429">
                  <c:v>4.595194439515736</c:v>
                </c:pt>
                <c:pt idx="430">
                  <c:v>30.629114747161989</c:v>
                </c:pt>
                <c:pt idx="431">
                  <c:v>5.542971661088699</c:v>
                </c:pt>
                <c:pt idx="432">
                  <c:v>30.602012702789686</c:v>
                </c:pt>
                <c:pt idx="433">
                  <c:v>8.7971716491217755</c:v>
                </c:pt>
                <c:pt idx="434">
                  <c:v>13.57687738685736</c:v>
                </c:pt>
                <c:pt idx="435">
                  <c:v>31.966190272242834</c:v>
                </c:pt>
                <c:pt idx="436">
                  <c:v>7.6845189489779999</c:v>
                </c:pt>
                <c:pt idx="437">
                  <c:v>31.932765854081726</c:v>
                </c:pt>
                <c:pt idx="438">
                  <c:v>15.549215954395271</c:v>
                </c:pt>
                <c:pt idx="439">
                  <c:v>10.419769854286402</c:v>
                </c:pt>
                <c:pt idx="440">
                  <c:v>32.323023653472454</c:v>
                </c:pt>
                <c:pt idx="441">
                  <c:v>9.6460894841503411</c:v>
                </c:pt>
                <c:pt idx="442">
                  <c:v>33.458160545816746</c:v>
                </c:pt>
                <c:pt idx="443">
                  <c:v>31.398656696375156</c:v>
                </c:pt>
                <c:pt idx="444">
                  <c:v>10.09802355859606</c:v>
                </c:pt>
                <c:pt idx="445">
                  <c:v>33.458160545816746</c:v>
                </c:pt>
                <c:pt idx="446">
                  <c:v>33.219611478686083</c:v>
                </c:pt>
                <c:pt idx="447">
                  <c:v>11.080195616738918</c:v>
                </c:pt>
                <c:pt idx="448">
                  <c:v>34.009193007255675</c:v>
                </c:pt>
                <c:pt idx="449">
                  <c:v>32.85726672867419</c:v>
                </c:pt>
                <c:pt idx="450">
                  <c:v>2.8344641347609532</c:v>
                </c:pt>
                <c:pt idx="451">
                  <c:v>2.0509716524258752</c:v>
                </c:pt>
                <c:pt idx="452">
                  <c:v>1.686272697227317</c:v>
                </c:pt>
                <c:pt idx="453">
                  <c:v>1.5821773902087179</c:v>
                </c:pt>
                <c:pt idx="454">
                  <c:v>1.3029839623517285</c:v>
                </c:pt>
                <c:pt idx="455">
                  <c:v>1.071638636931991</c:v>
                </c:pt>
                <c:pt idx="456">
                  <c:v>1.304249070063658</c:v>
                </c:pt>
                <c:pt idx="457">
                  <c:v>1.1764023949908222</c:v>
                </c:pt>
                <c:pt idx="458">
                  <c:v>0.40957108928946911</c:v>
                </c:pt>
                <c:pt idx="459">
                  <c:v>9.542020149196949</c:v>
                </c:pt>
                <c:pt idx="460">
                  <c:v>31.34895584377346</c:v>
                </c:pt>
                <c:pt idx="461">
                  <c:v>30.301809618277623</c:v>
                </c:pt>
                <c:pt idx="462">
                  <c:v>4.0258381485185462</c:v>
                </c:pt>
                <c:pt idx="463">
                  <c:v>28.751852306778673</c:v>
                </c:pt>
                <c:pt idx="464">
                  <c:v>28.320025372739487</c:v>
                </c:pt>
                <c:pt idx="465">
                  <c:v>4.6621296480823373</c:v>
                </c:pt>
                <c:pt idx="466">
                  <c:v>27.556545174627967</c:v>
                </c:pt>
                <c:pt idx="467">
                  <c:v>11.56733076276497</c:v>
                </c:pt>
                <c:pt idx="468">
                  <c:v>6.0374777081988817</c:v>
                </c:pt>
                <c:pt idx="469">
                  <c:v>-1.4623565477545659</c:v>
                </c:pt>
                <c:pt idx="470">
                  <c:v>-1.3056814848575771</c:v>
                </c:pt>
                <c:pt idx="471">
                  <c:v>-0.98724022412480361</c:v>
                </c:pt>
                <c:pt idx="472">
                  <c:v>-0.85530483129620405</c:v>
                </c:pt>
                <c:pt idx="473">
                  <c:v>-0.98413384712611152</c:v>
                </c:pt>
                <c:pt idx="474">
                  <c:v>-0.59704090379962138</c:v>
                </c:pt>
                <c:pt idx="475">
                  <c:v>-0.40130407580945993</c:v>
                </c:pt>
                <c:pt idx="476">
                  <c:v>2.0232180083849059E-2</c:v>
                </c:pt>
                <c:pt idx="477">
                  <c:v>0.40225719599130821</c:v>
                </c:pt>
                <c:pt idx="478">
                  <c:v>0.54799608587760107</c:v>
                </c:pt>
                <c:pt idx="479">
                  <c:v>0.65881492231936456</c:v>
                </c:pt>
                <c:pt idx="480">
                  <c:v>0.84679204520884577</c:v>
                </c:pt>
                <c:pt idx="481">
                  <c:v>1.2933651318206549</c:v>
                </c:pt>
                <c:pt idx="482">
                  <c:v>1.2945640674853882</c:v>
                </c:pt>
                <c:pt idx="483">
                  <c:v>1.5859666066116742</c:v>
                </c:pt>
                <c:pt idx="484">
                  <c:v>1.530636707173139</c:v>
                </c:pt>
                <c:pt idx="485">
                  <c:v>1.4757559617485703</c:v>
                </c:pt>
                <c:pt idx="486">
                  <c:v>1.5319658496239459</c:v>
                </c:pt>
                <c:pt idx="487">
                  <c:v>2.0441268878439018</c:v>
                </c:pt>
                <c:pt idx="488">
                  <c:v>1.9931706663401341</c:v>
                </c:pt>
                <c:pt idx="489">
                  <c:v>2.0850780308473671</c:v>
                </c:pt>
                <c:pt idx="490">
                  <c:v>1.9782692720149262</c:v>
                </c:pt>
                <c:pt idx="491">
                  <c:v>2.2929716334390067</c:v>
                </c:pt>
                <c:pt idx="492">
                  <c:v>2.2929716334390067</c:v>
                </c:pt>
                <c:pt idx="493">
                  <c:v>2.6386950483580258</c:v>
                </c:pt>
                <c:pt idx="494">
                  <c:v>2.5609097596812482</c:v>
                </c:pt>
                <c:pt idx="495">
                  <c:v>2.4592112067598348</c:v>
                </c:pt>
                <c:pt idx="496">
                  <c:v>2.4770610473516648</c:v>
                </c:pt>
                <c:pt idx="497">
                  <c:v>2.3482222873924812</c:v>
                </c:pt>
                <c:pt idx="498">
                  <c:v>2.3482222873924812</c:v>
                </c:pt>
                <c:pt idx="499">
                  <c:v>2.2153516242429241</c:v>
                </c:pt>
                <c:pt idx="500">
                  <c:v>2.2431671874865216</c:v>
                </c:pt>
                <c:pt idx="501">
                  <c:v>2.168734885202297</c:v>
                </c:pt>
                <c:pt idx="502">
                  <c:v>2.010099801483948</c:v>
                </c:pt>
                <c:pt idx="503">
                  <c:v>2.010099801483948</c:v>
                </c:pt>
                <c:pt idx="504">
                  <c:v>2.4196276584637078</c:v>
                </c:pt>
                <c:pt idx="505">
                  <c:v>2.2073878829227098</c:v>
                </c:pt>
                <c:pt idx="506">
                  <c:v>2.2235608504372038</c:v>
                </c:pt>
                <c:pt idx="507">
                  <c:v>2.7381452216343392</c:v>
                </c:pt>
                <c:pt idx="508">
                  <c:v>2.9633401420266088</c:v>
                </c:pt>
                <c:pt idx="509">
                  <c:v>15.033695639696459</c:v>
                </c:pt>
                <c:pt idx="510">
                  <c:v>16.276782715932089</c:v>
                </c:pt>
                <c:pt idx="511">
                  <c:v>16.321148462818996</c:v>
                </c:pt>
                <c:pt idx="512">
                  <c:v>13.522084177436026</c:v>
                </c:pt>
                <c:pt idx="513">
                  <c:v>6.8623936002245971</c:v>
                </c:pt>
                <c:pt idx="514">
                  <c:v>6.4015112678729844</c:v>
                </c:pt>
                <c:pt idx="515">
                  <c:v>4.9634823643204689</c:v>
                </c:pt>
                <c:pt idx="516">
                  <c:v>4.472449755482212</c:v>
                </c:pt>
                <c:pt idx="517">
                  <c:v>4.0784162956499586</c:v>
                </c:pt>
                <c:pt idx="518">
                  <c:v>3.5714241744947577</c:v>
                </c:pt>
                <c:pt idx="519">
                  <c:v>3.4611242656184618</c:v>
                </c:pt>
                <c:pt idx="520">
                  <c:v>28.812053394723687</c:v>
                </c:pt>
                <c:pt idx="521">
                  <c:v>5.1083147895534289</c:v>
                </c:pt>
                <c:pt idx="522">
                  <c:v>5.6586297320658394</c:v>
                </c:pt>
                <c:pt idx="523">
                  <c:v>27.754669470920479</c:v>
                </c:pt>
                <c:pt idx="524">
                  <c:v>5.199144527457789</c:v>
                </c:pt>
                <c:pt idx="525">
                  <c:v>30.966649801630293</c:v>
                </c:pt>
                <c:pt idx="526">
                  <c:v>7.5649469415213115</c:v>
                </c:pt>
                <c:pt idx="527">
                  <c:v>28.276875343030031</c:v>
                </c:pt>
                <c:pt idx="528">
                  <c:v>29.929403654183137</c:v>
                </c:pt>
                <c:pt idx="529">
                  <c:v>29.687653385966236</c:v>
                </c:pt>
                <c:pt idx="530">
                  <c:v>2.2171316845800089</c:v>
                </c:pt>
                <c:pt idx="531">
                  <c:v>29.71908606538392</c:v>
                </c:pt>
                <c:pt idx="532">
                  <c:v>3.689105502854432</c:v>
                </c:pt>
                <c:pt idx="533">
                  <c:v>28.56087707370607</c:v>
                </c:pt>
                <c:pt idx="534">
                  <c:v>4.6792508821935561</c:v>
                </c:pt>
                <c:pt idx="535">
                  <c:v>27.95084004775611</c:v>
                </c:pt>
                <c:pt idx="536">
                  <c:v>29.726074228009423</c:v>
                </c:pt>
                <c:pt idx="537">
                  <c:v>4.041721972667788</c:v>
                </c:pt>
                <c:pt idx="538">
                  <c:v>31.909514787627757</c:v>
                </c:pt>
                <c:pt idx="539">
                  <c:v>6.4900712908504223</c:v>
                </c:pt>
                <c:pt idx="540">
                  <c:v>33.009023891561547</c:v>
                </c:pt>
                <c:pt idx="541">
                  <c:v>30.995276394958207</c:v>
                </c:pt>
                <c:pt idx="542">
                  <c:v>13.67392729873538</c:v>
                </c:pt>
                <c:pt idx="543">
                  <c:v>30.446889589955372</c:v>
                </c:pt>
                <c:pt idx="544">
                  <c:v>33.327792064653551</c:v>
                </c:pt>
                <c:pt idx="545">
                  <c:v>8.0538739598529343</c:v>
                </c:pt>
                <c:pt idx="546">
                  <c:v>-0.45501544823627971</c:v>
                </c:pt>
                <c:pt idx="547">
                  <c:v>1.0533510113398961</c:v>
                </c:pt>
                <c:pt idx="548">
                  <c:v>0.91645557009579071</c:v>
                </c:pt>
                <c:pt idx="549">
                  <c:v>0.7029661703789295</c:v>
                </c:pt>
                <c:pt idx="550">
                  <c:v>0.44587918297476153</c:v>
                </c:pt>
                <c:pt idx="551">
                  <c:v>0.62117487313783515</c:v>
                </c:pt>
                <c:pt idx="552">
                  <c:v>1.201290659883665</c:v>
                </c:pt>
                <c:pt idx="553">
                  <c:v>0.89375776677800578</c:v>
                </c:pt>
                <c:pt idx="554">
                  <c:v>0.61210568225812256</c:v>
                </c:pt>
                <c:pt idx="555">
                  <c:v>9.7993704294052772</c:v>
                </c:pt>
                <c:pt idx="556">
                  <c:v>30.847169378569813</c:v>
                </c:pt>
                <c:pt idx="557">
                  <c:v>31.803126656373667</c:v>
                </c:pt>
                <c:pt idx="558">
                  <c:v>30.079821424259379</c:v>
                </c:pt>
                <c:pt idx="559">
                  <c:v>3.5509269314851282</c:v>
                </c:pt>
                <c:pt idx="560">
                  <c:v>28.871521310919611</c:v>
                </c:pt>
                <c:pt idx="561">
                  <c:v>12.284579324500781</c:v>
                </c:pt>
                <c:pt idx="562">
                  <c:v>5.1282392386820899</c:v>
                </c:pt>
                <c:pt idx="563">
                  <c:v>28.343533739115557</c:v>
                </c:pt>
                <c:pt idx="564">
                  <c:v>8.1550578969159275</c:v>
                </c:pt>
                <c:pt idx="565">
                  <c:v>-1.3941704969596631</c:v>
                </c:pt>
                <c:pt idx="566">
                  <c:v>-1.191998744261616</c:v>
                </c:pt>
                <c:pt idx="567">
                  <c:v>-0.9444081239917641</c:v>
                </c:pt>
                <c:pt idx="568">
                  <c:v>-1.2958272798071551</c:v>
                </c:pt>
                <c:pt idx="569">
                  <c:v>-1.19206255865387</c:v>
                </c:pt>
                <c:pt idx="570">
                  <c:v>-0.9435359248698385</c:v>
                </c:pt>
                <c:pt idx="571">
                  <c:v>-0.70924895477319794</c:v>
                </c:pt>
                <c:pt idx="572">
                  <c:v>-0.22857104987460311</c:v>
                </c:pt>
                <c:pt idx="573">
                  <c:v>8.5158789674475849E-2</c:v>
                </c:pt>
                <c:pt idx="574">
                  <c:v>0.64042778119762855</c:v>
                </c:pt>
                <c:pt idx="575">
                  <c:v>0.69434309906923253</c:v>
                </c:pt>
                <c:pt idx="576">
                  <c:v>0.60831373005319123</c:v>
                </c:pt>
                <c:pt idx="577">
                  <c:v>0.92507109103663832</c:v>
                </c:pt>
                <c:pt idx="578">
                  <c:v>0.89339694884998078</c:v>
                </c:pt>
                <c:pt idx="579">
                  <c:v>1.25079112168955</c:v>
                </c:pt>
                <c:pt idx="580">
                  <c:v>1.3074804529171671</c:v>
                </c:pt>
                <c:pt idx="581">
                  <c:v>1.2612237077645914</c:v>
                </c:pt>
                <c:pt idx="582">
                  <c:v>1.7216296033350067</c:v>
                </c:pt>
                <c:pt idx="583">
                  <c:v>1.7052725482007038</c:v>
                </c:pt>
                <c:pt idx="584">
                  <c:v>1.6580323316388466</c:v>
                </c:pt>
                <c:pt idx="585">
                  <c:v>1.5512200169643398</c:v>
                </c:pt>
                <c:pt idx="586">
                  <c:v>1.5128445968026658</c:v>
                </c:pt>
                <c:pt idx="587">
                  <c:v>1.9704544747002628</c:v>
                </c:pt>
                <c:pt idx="588">
                  <c:v>1.933495692522913</c:v>
                </c:pt>
                <c:pt idx="589">
                  <c:v>2.5136168592160972</c:v>
                </c:pt>
                <c:pt idx="590">
                  <c:v>2.5136168592160972</c:v>
                </c:pt>
                <c:pt idx="591">
                  <c:v>2.5421793967181769</c:v>
                </c:pt>
                <c:pt idx="592">
                  <c:v>2.5421793967181769</c:v>
                </c:pt>
                <c:pt idx="593">
                  <c:v>2.5051636135765829</c:v>
                </c:pt>
                <c:pt idx="594">
                  <c:v>2.5051636135765829</c:v>
                </c:pt>
                <c:pt idx="595">
                  <c:v>2.5301836580250558</c:v>
                </c:pt>
                <c:pt idx="596">
                  <c:v>3.103863884627287</c:v>
                </c:pt>
                <c:pt idx="597">
                  <c:v>3.0896129554782807</c:v>
                </c:pt>
                <c:pt idx="598">
                  <c:v>3.103863884627287</c:v>
                </c:pt>
                <c:pt idx="599">
                  <c:v>3.103863884627287</c:v>
                </c:pt>
                <c:pt idx="600">
                  <c:v>2.9947570163184678</c:v>
                </c:pt>
                <c:pt idx="601">
                  <c:v>3.0896129554782807</c:v>
                </c:pt>
                <c:pt idx="602">
                  <c:v>3.580391561088168</c:v>
                </c:pt>
                <c:pt idx="603">
                  <c:v>3.611286553838442</c:v>
                </c:pt>
                <c:pt idx="604">
                  <c:v>3.6679996993055282</c:v>
                </c:pt>
                <c:pt idx="605">
                  <c:v>3.650586038659958</c:v>
                </c:pt>
                <c:pt idx="606">
                  <c:v>3.7162925800916549</c:v>
                </c:pt>
                <c:pt idx="607">
                  <c:v>4.2759532230662876</c:v>
                </c:pt>
                <c:pt idx="608">
                  <c:v>4.3204886299098408</c:v>
                </c:pt>
                <c:pt idx="609">
                  <c:v>4.3681671803909525</c:v>
                </c:pt>
                <c:pt idx="610">
                  <c:v>4.3098444572939281</c:v>
                </c:pt>
                <c:pt idx="611">
                  <c:v>4.197982510115005</c:v>
                </c:pt>
                <c:pt idx="612">
                  <c:v>4.0859010390687116</c:v>
                </c:pt>
                <c:pt idx="613">
                  <c:v>2.5043213787132279</c:v>
                </c:pt>
                <c:pt idx="614">
                  <c:v>-5.3284801342848471</c:v>
                </c:pt>
                <c:pt idx="615">
                  <c:v>-7.6696926459743731</c:v>
                </c:pt>
                <c:pt idx="616">
                  <c:v>-7.784555056083426</c:v>
                </c:pt>
                <c:pt idx="617">
                  <c:v>-5.6413959069753155</c:v>
                </c:pt>
                <c:pt idx="618">
                  <c:v>-3.2173198219576049</c:v>
                </c:pt>
                <c:pt idx="619">
                  <c:v>-3.7349936968631829</c:v>
                </c:pt>
                <c:pt idx="620">
                  <c:v>-3.2580724571589541</c:v>
                </c:pt>
                <c:pt idx="621">
                  <c:v>-0.75369487505019239</c:v>
                </c:pt>
                <c:pt idx="622">
                  <c:v>30.51406317297095</c:v>
                </c:pt>
                <c:pt idx="623">
                  <c:v>11.383030937860452</c:v>
                </c:pt>
                <c:pt idx="624">
                  <c:v>2.9138377406509584</c:v>
                </c:pt>
                <c:pt idx="625">
                  <c:v>30.529634079130123</c:v>
                </c:pt>
                <c:pt idx="626">
                  <c:v>2.2050839334232304</c:v>
                </c:pt>
                <c:pt idx="627">
                  <c:v>26.201520082807317</c:v>
                </c:pt>
                <c:pt idx="628">
                  <c:v>29.279271870836499</c:v>
                </c:pt>
                <c:pt idx="629">
                  <c:v>3.8934125100774342</c:v>
                </c:pt>
                <c:pt idx="630">
                  <c:v>29.856952814448604</c:v>
                </c:pt>
                <c:pt idx="631">
                  <c:v>7.6896195368665277</c:v>
                </c:pt>
                <c:pt idx="632">
                  <c:v>25.234246503470235</c:v>
                </c:pt>
                <c:pt idx="633">
                  <c:v>31.427532288505585</c:v>
                </c:pt>
                <c:pt idx="634">
                  <c:v>6.3051735391784254</c:v>
                </c:pt>
                <c:pt idx="635">
                  <c:v>29.88027877020038</c:v>
                </c:pt>
                <c:pt idx="636">
                  <c:v>30.269546096251755</c:v>
                </c:pt>
                <c:pt idx="637">
                  <c:v>3.4051664661245349</c:v>
                </c:pt>
                <c:pt idx="638">
                  <c:v>-0.14170540634524126</c:v>
                </c:pt>
                <c:pt idx="639">
                  <c:v>-0.38647513189286919</c:v>
                </c:pt>
                <c:pt idx="640">
                  <c:v>-0.14848828757954419</c:v>
                </c:pt>
                <c:pt idx="641">
                  <c:v>0.36173142262241759</c:v>
                </c:pt>
                <c:pt idx="642">
                  <c:v>0.17901529469863423</c:v>
                </c:pt>
                <c:pt idx="643">
                  <c:v>1.3789666707718971</c:v>
                </c:pt>
                <c:pt idx="644">
                  <c:v>2.7220752484800892</c:v>
                </c:pt>
                <c:pt idx="645">
                  <c:v>2.7092863128203772</c:v>
                </c:pt>
                <c:pt idx="646">
                  <c:v>3.0178972359064939</c:v>
                </c:pt>
                <c:pt idx="647">
                  <c:v>2.605357140667889</c:v>
                </c:pt>
                <c:pt idx="648">
                  <c:v>3.1099437168428641</c:v>
                </c:pt>
                <c:pt idx="649">
                  <c:v>2.6304560186211861</c:v>
                </c:pt>
                <c:pt idx="650">
                  <c:v>2.6679748303679669</c:v>
                </c:pt>
                <c:pt idx="651">
                  <c:v>2.1465725147893422</c:v>
                </c:pt>
                <c:pt idx="652">
                  <c:v>1.6327094696093749</c:v>
                </c:pt>
                <c:pt idx="653">
                  <c:v>1.1515831563852539</c:v>
                </c:pt>
                <c:pt idx="654">
                  <c:v>0.51193707799087462</c:v>
                </c:pt>
                <c:pt idx="655">
                  <c:v>1.8209500477989343E-2</c:v>
                </c:pt>
                <c:pt idx="656">
                  <c:v>-0.75516641004981311</c:v>
                </c:pt>
                <c:pt idx="657">
                  <c:v>-0.97863095114453158</c:v>
                </c:pt>
                <c:pt idx="658">
                  <c:v>-0.93712904465507418</c:v>
                </c:pt>
                <c:pt idx="659">
                  <c:v>-0.85080054264462179</c:v>
                </c:pt>
                <c:pt idx="660">
                  <c:v>-6.6326637355671542E-2</c:v>
                </c:pt>
                <c:pt idx="661">
                  <c:v>-0.3656311629082728</c:v>
                </c:pt>
                <c:pt idx="662">
                  <c:v>6.9100996476668286E-2</c:v>
                </c:pt>
                <c:pt idx="663">
                  <c:v>0.10930059697018719</c:v>
                </c:pt>
                <c:pt idx="664">
                  <c:v>0.73731624686472153</c:v>
                </c:pt>
                <c:pt idx="665">
                  <c:v>1.917631595906625</c:v>
                </c:pt>
                <c:pt idx="666">
                  <c:v>2.216907787448287</c:v>
                </c:pt>
                <c:pt idx="667">
                  <c:v>2.3597854188780132</c:v>
                </c:pt>
                <c:pt idx="668">
                  <c:v>3.156414894682158</c:v>
                </c:pt>
                <c:pt idx="669">
                  <c:v>3.2440537984885927</c:v>
                </c:pt>
                <c:pt idx="670">
                  <c:v>3.278761358699088</c:v>
                </c:pt>
                <c:pt idx="671">
                  <c:v>3.2018126684473498</c:v>
                </c:pt>
                <c:pt idx="672">
                  <c:v>3.0599792720592429</c:v>
                </c:pt>
                <c:pt idx="673">
                  <c:v>2.8145827911533448</c:v>
                </c:pt>
                <c:pt idx="674">
                  <c:v>3.1599552911628677</c:v>
                </c:pt>
                <c:pt idx="675">
                  <c:v>3.0152987391822847</c:v>
                </c:pt>
                <c:pt idx="676">
                  <c:v>2.8672523894982795</c:v>
                </c:pt>
                <c:pt idx="677">
                  <c:v>2.7263188277925732</c:v>
                </c:pt>
                <c:pt idx="678">
                  <c:v>2.6188914744971008</c:v>
                </c:pt>
                <c:pt idx="679">
                  <c:v>2.4531666365658578</c:v>
                </c:pt>
                <c:pt idx="680">
                  <c:v>2.297504361105084</c:v>
                </c:pt>
                <c:pt idx="681">
                  <c:v>2.3182559874457769</c:v>
                </c:pt>
                <c:pt idx="682">
                  <c:v>2.0249461700029787</c:v>
                </c:pt>
                <c:pt idx="683">
                  <c:v>2.359951361584923</c:v>
                </c:pt>
                <c:pt idx="684">
                  <c:v>2.1791940655344249</c:v>
                </c:pt>
                <c:pt idx="685">
                  <c:v>2.4242990874580199</c:v>
                </c:pt>
                <c:pt idx="686">
                  <c:v>2.2255805673387346</c:v>
                </c:pt>
                <c:pt idx="687">
                  <c:v>2.2166194575989238</c:v>
                </c:pt>
                <c:pt idx="688">
                  <c:v>2.0480553991456207</c:v>
                </c:pt>
                <c:pt idx="689">
                  <c:v>2.0306777800705849</c:v>
                </c:pt>
                <c:pt idx="690">
                  <c:v>1.847167475083455</c:v>
                </c:pt>
                <c:pt idx="691">
                  <c:v>1.8402642237733839</c:v>
                </c:pt>
                <c:pt idx="692">
                  <c:v>1.66031289247384</c:v>
                </c:pt>
                <c:pt idx="693">
                  <c:v>1.8149489995822239</c:v>
                </c:pt>
                <c:pt idx="694">
                  <c:v>1.9582047470804418</c:v>
                </c:pt>
                <c:pt idx="695">
                  <c:v>1.7974825486882049</c:v>
                </c:pt>
                <c:pt idx="696">
                  <c:v>1.7590716611717689</c:v>
                </c:pt>
                <c:pt idx="697">
                  <c:v>2.0055394071070691</c:v>
                </c:pt>
                <c:pt idx="698">
                  <c:v>2.2591910645640088</c:v>
                </c:pt>
                <c:pt idx="699">
                  <c:v>2.9146508655413479</c:v>
                </c:pt>
                <c:pt idx="700">
                  <c:v>3.8696585225335407</c:v>
                </c:pt>
                <c:pt idx="701">
                  <c:v>11.85868978076458</c:v>
                </c:pt>
                <c:pt idx="702">
                  <c:v>11.564146357355726</c:v>
                </c:pt>
                <c:pt idx="703">
                  <c:v>13.06072449060532</c:v>
                </c:pt>
                <c:pt idx="704">
                  <c:v>14.961163330905171</c:v>
                </c:pt>
                <c:pt idx="705">
                  <c:v>16.420788951703866</c:v>
                </c:pt>
                <c:pt idx="706">
                  <c:v>15.814622689490212</c:v>
                </c:pt>
                <c:pt idx="707">
                  <c:v>11.443191564332352</c:v>
                </c:pt>
                <c:pt idx="708">
                  <c:v>5.4240476118147694</c:v>
                </c:pt>
                <c:pt idx="709">
                  <c:v>-0.61212978983005206</c:v>
                </c:pt>
                <c:pt idx="710">
                  <c:v>-4.1488495591985846</c:v>
                </c:pt>
                <c:pt idx="711">
                  <c:v>-7.0420183378404246</c:v>
                </c:pt>
                <c:pt idx="712">
                  <c:v>-5.192194308251989</c:v>
                </c:pt>
                <c:pt idx="713">
                  <c:v>-3.8712787890046845</c:v>
                </c:pt>
                <c:pt idx="714">
                  <c:v>-4.1552821568764058</c:v>
                </c:pt>
                <c:pt idx="715">
                  <c:v>-2.7808910107168838</c:v>
                </c:pt>
                <c:pt idx="716">
                  <c:v>-3.3330915244629389</c:v>
                </c:pt>
                <c:pt idx="717">
                  <c:v>-3.8084244917382382</c:v>
                </c:pt>
                <c:pt idx="718">
                  <c:v>-2.983210203800144</c:v>
                </c:pt>
                <c:pt idx="719">
                  <c:v>15.59300845809236</c:v>
                </c:pt>
                <c:pt idx="720">
                  <c:v>29.492982155632827</c:v>
                </c:pt>
                <c:pt idx="721">
                  <c:v>4.2028388847792639</c:v>
                </c:pt>
                <c:pt idx="722">
                  <c:v>31.03667209281382</c:v>
                </c:pt>
                <c:pt idx="723">
                  <c:v>7.9306637513753326</c:v>
                </c:pt>
                <c:pt idx="724">
                  <c:v>27.406248195582759</c:v>
                </c:pt>
                <c:pt idx="725">
                  <c:v>30.01864365008861</c:v>
                </c:pt>
                <c:pt idx="726">
                  <c:v>5.8241686702383815</c:v>
                </c:pt>
                <c:pt idx="727">
                  <c:v>31.856140812463366</c:v>
                </c:pt>
                <c:pt idx="728">
                  <c:v>11.93694379456648</c:v>
                </c:pt>
                <c:pt idx="729">
                  <c:v>24.627140862071769</c:v>
                </c:pt>
                <c:pt idx="730">
                  <c:v>31.334271102730675</c:v>
                </c:pt>
                <c:pt idx="731">
                  <c:v>5.3141207756896716</c:v>
                </c:pt>
                <c:pt idx="732">
                  <c:v>30.604026898869787</c:v>
                </c:pt>
                <c:pt idx="733">
                  <c:v>7.3604314145792964</c:v>
                </c:pt>
                <c:pt idx="734">
                  <c:v>29.636836935667159</c:v>
                </c:pt>
                <c:pt idx="735">
                  <c:v>31.694201856791359</c:v>
                </c:pt>
                <c:pt idx="736">
                  <c:v>6.7683460253229235</c:v>
                </c:pt>
                <c:pt idx="737">
                  <c:v>32.591315239975742</c:v>
                </c:pt>
                <c:pt idx="738">
                  <c:v>1.7669368460950259</c:v>
                </c:pt>
                <c:pt idx="739">
                  <c:v>0.475459660797585</c:v>
                </c:pt>
                <c:pt idx="740">
                  <c:v>-7.8191253255755683E-2</c:v>
                </c:pt>
                <c:pt idx="741">
                  <c:v>-0.13872234638228823</c:v>
                </c:pt>
                <c:pt idx="742">
                  <c:v>-0.36045270057829282</c:v>
                </c:pt>
                <c:pt idx="743">
                  <c:v>-0.68946262024184257</c:v>
                </c:pt>
                <c:pt idx="744">
                  <c:v>-0.44113485761013471</c:v>
                </c:pt>
                <c:pt idx="745">
                  <c:v>-0.62855261868281875</c:v>
                </c:pt>
                <c:pt idx="746">
                  <c:v>-0.78653584815723832</c:v>
                </c:pt>
                <c:pt idx="747">
                  <c:v>2.9066806360370872</c:v>
                </c:pt>
                <c:pt idx="748">
                  <c:v>28.31823779570486</c:v>
                </c:pt>
                <c:pt idx="749">
                  <c:v>28.625132245321005</c:v>
                </c:pt>
                <c:pt idx="750">
                  <c:v>4.0784162956499586</c:v>
                </c:pt>
                <c:pt idx="751">
                  <c:v>27.996844359207781</c:v>
                </c:pt>
                <c:pt idx="752">
                  <c:v>8.1130365636431208</c:v>
                </c:pt>
                <c:pt idx="753">
                  <c:v>5.5170675859527574</c:v>
                </c:pt>
                <c:pt idx="754">
                  <c:v>15.104960175699418</c:v>
                </c:pt>
                <c:pt idx="755">
                  <c:v>18.144229848740029</c:v>
                </c:pt>
                <c:pt idx="756">
                  <c:v>18.125536837017496</c:v>
                </c:pt>
                <c:pt idx="757">
                  <c:v>9.804031269514657E-2</c:v>
                </c:pt>
                <c:pt idx="758">
                  <c:v>-0.1327577235045207</c:v>
                </c:pt>
                <c:pt idx="759">
                  <c:v>-0.26924139990252677</c:v>
                </c:pt>
                <c:pt idx="760">
                  <c:v>-0.20528415591194399</c:v>
                </c:pt>
                <c:pt idx="761">
                  <c:v>2.6868768136534941E-2</c:v>
                </c:pt>
                <c:pt idx="762">
                  <c:v>0.28816210860512009</c:v>
                </c:pt>
                <c:pt idx="763">
                  <c:v>0.34517476123447133</c:v>
                </c:pt>
                <c:pt idx="764">
                  <c:v>0.76154327992796811</c:v>
                </c:pt>
                <c:pt idx="765">
                  <c:v>0.80108278242005859</c:v>
                </c:pt>
                <c:pt idx="766">
                  <c:v>0.84170744846818313</c:v>
                </c:pt>
                <c:pt idx="767">
                  <c:v>1.2646091269347288</c:v>
                </c:pt>
                <c:pt idx="768">
                  <c:v>1.1801387219937998</c:v>
                </c:pt>
                <c:pt idx="769">
                  <c:v>1.636464387196062</c:v>
                </c:pt>
                <c:pt idx="770">
                  <c:v>1.675485298315512</c:v>
                </c:pt>
                <c:pt idx="771">
                  <c:v>1.6912722621157261</c:v>
                </c:pt>
                <c:pt idx="772">
                  <c:v>1.5857186097338101</c:v>
                </c:pt>
                <c:pt idx="773">
                  <c:v>1.9292904409485438</c:v>
                </c:pt>
                <c:pt idx="774">
                  <c:v>1.9292904409485438</c:v>
                </c:pt>
                <c:pt idx="775">
                  <c:v>1.9806380685758922</c:v>
                </c:pt>
                <c:pt idx="776">
                  <c:v>2.153004744688761</c:v>
                </c:pt>
                <c:pt idx="777">
                  <c:v>2.0250403971456228</c:v>
                </c:pt>
                <c:pt idx="778">
                  <c:v>1.8959415375791102</c:v>
                </c:pt>
                <c:pt idx="779">
                  <c:v>2.0258669840775467</c:v>
                </c:pt>
                <c:pt idx="780">
                  <c:v>2.0429515760796222</c:v>
                </c:pt>
                <c:pt idx="781">
                  <c:v>1.89002000851789</c:v>
                </c:pt>
                <c:pt idx="782">
                  <c:v>2.017941640124528</c:v>
                </c:pt>
                <c:pt idx="783">
                  <c:v>1.8256882596299042</c:v>
                </c:pt>
                <c:pt idx="784">
                  <c:v>1.8256882596299042</c:v>
                </c:pt>
                <c:pt idx="785">
                  <c:v>1.6508759715759902</c:v>
                </c:pt>
                <c:pt idx="786">
                  <c:v>1.5164241843283099</c:v>
                </c:pt>
                <c:pt idx="787">
                  <c:v>1.525732368720232</c:v>
                </c:pt>
                <c:pt idx="788">
                  <c:v>1.639093270725551</c:v>
                </c:pt>
                <c:pt idx="789">
                  <c:v>1.63747402013778</c:v>
                </c:pt>
                <c:pt idx="790">
                  <c:v>1.4632268468163641</c:v>
                </c:pt>
                <c:pt idx="791">
                  <c:v>1.6075501557909659</c:v>
                </c:pt>
                <c:pt idx="792">
                  <c:v>1.457056050971316</c:v>
                </c:pt>
                <c:pt idx="793">
                  <c:v>1.3476772031796698</c:v>
                </c:pt>
                <c:pt idx="794">
                  <c:v>1.7478952764049407</c:v>
                </c:pt>
                <c:pt idx="795">
                  <c:v>2.0063080806268068</c:v>
                </c:pt>
                <c:pt idx="796">
                  <c:v>2.2875706654026451</c:v>
                </c:pt>
                <c:pt idx="797">
                  <c:v>10.44501515772418</c:v>
                </c:pt>
                <c:pt idx="798">
                  <c:v>11.129249418393989</c:v>
                </c:pt>
                <c:pt idx="799">
                  <c:v>12.0157231146678</c:v>
                </c:pt>
                <c:pt idx="800">
                  <c:v>13.894158061812181</c:v>
                </c:pt>
                <c:pt idx="801">
                  <c:v>15.421332340850649</c:v>
                </c:pt>
                <c:pt idx="802">
                  <c:v>17.205992713416773</c:v>
                </c:pt>
                <c:pt idx="803">
                  <c:v>17.65752693237468</c:v>
                </c:pt>
                <c:pt idx="804">
                  <c:v>14.18399117845606</c:v>
                </c:pt>
                <c:pt idx="805">
                  <c:v>10.100491952415092</c:v>
                </c:pt>
                <c:pt idx="806">
                  <c:v>4.8918528580145244</c:v>
                </c:pt>
                <c:pt idx="807">
                  <c:v>2.6531797865015889</c:v>
                </c:pt>
                <c:pt idx="808">
                  <c:v>0.14921316125161271</c:v>
                </c:pt>
                <c:pt idx="809">
                  <c:v>-2.3446058200903237</c:v>
                </c:pt>
                <c:pt idx="810">
                  <c:v>-0.59401554488865849</c:v>
                </c:pt>
                <c:pt idx="811">
                  <c:v>28.924272944085267</c:v>
                </c:pt>
                <c:pt idx="812">
                  <c:v>11.896810212047802</c:v>
                </c:pt>
                <c:pt idx="813">
                  <c:v>7.7340797705980329</c:v>
                </c:pt>
                <c:pt idx="814">
                  <c:v>33.305819760274304</c:v>
                </c:pt>
                <c:pt idx="815">
                  <c:v>31.951774749608614</c:v>
                </c:pt>
                <c:pt idx="816">
                  <c:v>6.7325763780774768</c:v>
                </c:pt>
                <c:pt idx="817">
                  <c:v>34.318096592378296</c:v>
                </c:pt>
                <c:pt idx="818">
                  <c:v>32.821277077291342</c:v>
                </c:pt>
                <c:pt idx="819">
                  <c:v>9.5487713544590189</c:v>
                </c:pt>
                <c:pt idx="820">
                  <c:v>32.77971802702163</c:v>
                </c:pt>
                <c:pt idx="821">
                  <c:v>8.4941020808123131</c:v>
                </c:pt>
                <c:pt idx="822">
                  <c:v>32.809523507849249</c:v>
                </c:pt>
                <c:pt idx="823">
                  <c:v>33.129198093733493</c:v>
                </c:pt>
                <c:pt idx="824">
                  <c:v>9.0245007206244683</c:v>
                </c:pt>
                <c:pt idx="825">
                  <c:v>34.936898134236003</c:v>
                </c:pt>
                <c:pt idx="826">
                  <c:v>33.880113364332047</c:v>
                </c:pt>
                <c:pt idx="827">
                  <c:v>32.415659525273405</c:v>
                </c:pt>
                <c:pt idx="828">
                  <c:v>9.6934230592163271</c:v>
                </c:pt>
                <c:pt idx="829">
                  <c:v>33.755823699529692</c:v>
                </c:pt>
                <c:pt idx="830">
                  <c:v>31.535561115898279</c:v>
                </c:pt>
                <c:pt idx="831">
                  <c:v>8.7967345115434767</c:v>
                </c:pt>
                <c:pt idx="832">
                  <c:v>33.218181273205609</c:v>
                </c:pt>
                <c:pt idx="833">
                  <c:v>31.835597317537179</c:v>
                </c:pt>
                <c:pt idx="834">
                  <c:v>1.7197052680674934</c:v>
                </c:pt>
                <c:pt idx="835">
                  <c:v>0.45446901082523611</c:v>
                </c:pt>
                <c:pt idx="836">
                  <c:v>-1.3825376854240311E-2</c:v>
                </c:pt>
                <c:pt idx="837">
                  <c:v>-0.3424278139245559</c:v>
                </c:pt>
                <c:pt idx="838">
                  <c:v>-0.54541920384006926</c:v>
                </c:pt>
                <c:pt idx="839">
                  <c:v>-0.5056292067716619</c:v>
                </c:pt>
                <c:pt idx="840">
                  <c:v>-0.85200390030429951</c:v>
                </c:pt>
                <c:pt idx="841">
                  <c:v>-1.037202010651473</c:v>
                </c:pt>
                <c:pt idx="842">
                  <c:v>-1.1226316170355322</c:v>
                </c:pt>
                <c:pt idx="843">
                  <c:v>5.4894903509398034</c:v>
                </c:pt>
                <c:pt idx="844">
                  <c:v>30.027170155042096</c:v>
                </c:pt>
                <c:pt idx="845">
                  <c:v>29.012063305907592</c:v>
                </c:pt>
                <c:pt idx="846">
                  <c:v>10.040108748665318</c:v>
                </c:pt>
                <c:pt idx="847">
                  <c:v>5.9335137763606527</c:v>
                </c:pt>
                <c:pt idx="848">
                  <c:v>27.471110132961883</c:v>
                </c:pt>
                <c:pt idx="849">
                  <c:v>8.3232135627860142</c:v>
                </c:pt>
                <c:pt idx="850">
                  <c:v>6.4312352145932881</c:v>
                </c:pt>
                <c:pt idx="851">
                  <c:v>16.496039462799509</c:v>
                </c:pt>
                <c:pt idx="852">
                  <c:v>18.732582648017146</c:v>
                </c:pt>
                <c:pt idx="853">
                  <c:v>-0.1608656508550397</c:v>
                </c:pt>
                <c:pt idx="854">
                  <c:v>-9.9713709068153689E-2</c:v>
                </c:pt>
                <c:pt idx="855">
                  <c:v>-0.35200498024809712</c:v>
                </c:pt>
                <c:pt idx="856">
                  <c:v>-0.39606651102128193</c:v>
                </c:pt>
                <c:pt idx="857">
                  <c:v>-0.24357690239742058</c:v>
                </c:pt>
                <c:pt idx="858">
                  <c:v>4.8948320961375691E-2</c:v>
                </c:pt>
                <c:pt idx="859">
                  <c:v>0.39672237967289536</c:v>
                </c:pt>
                <c:pt idx="860">
                  <c:v>0.48159661087122191</c:v>
                </c:pt>
                <c:pt idx="861">
                  <c:v>0.85152194499746658</c:v>
                </c:pt>
              </c:numCache>
            </c:numRef>
          </c:yVal>
          <c:smooth val="1"/>
        </c:ser>
        <c:axId val="329616384"/>
        <c:axId val="329630848"/>
      </c:scatterChart>
      <c:valAx>
        <c:axId val="329616384"/>
        <c:scaling>
          <c:orientation val="minMax"/>
          <c:max val="42598"/>
          <c:min val="42590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layout>
            <c:manualLayout>
              <c:xMode val="edge"/>
              <c:yMode val="edge"/>
              <c:x val="0.37159342220623082"/>
              <c:y val="0.93039062928207261"/>
            </c:manualLayout>
          </c:layout>
        </c:title>
        <c:numFmt formatCode="d/m;@" sourceLinked="0"/>
        <c:tickLblPos val="low"/>
        <c:crossAx val="329630848"/>
        <c:crosses val="autoZero"/>
        <c:crossBetween val="midCat"/>
        <c:majorUnit val="1"/>
      </c:valAx>
      <c:valAx>
        <c:axId val="329630848"/>
        <c:scaling>
          <c:orientation val="minMax"/>
          <c:max val="35"/>
          <c:min val="-1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Gesamter</a:t>
                </a:r>
                <a:r>
                  <a:rPr lang="de-DE" baseline="0" dirty="0" smtClean="0"/>
                  <a:t> Leistungsverbrauch</a:t>
                </a:r>
                <a:r>
                  <a:rPr lang="de-DE" dirty="0" smtClean="0"/>
                  <a:t> </a:t>
                </a:r>
                <a:r>
                  <a:rPr lang="de-DE" dirty="0"/>
                  <a:t>in [</a:t>
                </a:r>
                <a:r>
                  <a:rPr lang="de-DE" dirty="0" err="1"/>
                  <a:t>kW</a:t>
                </a:r>
                <a:r>
                  <a:rPr lang="de-DE" dirty="0"/>
                  <a:t>] </a:t>
                </a:r>
              </a:p>
            </c:rich>
          </c:tx>
          <c:layout>
            <c:manualLayout>
              <c:xMode val="edge"/>
              <c:yMode val="edge"/>
              <c:x val="7.9968648352600306E-3"/>
              <c:y val="0.10480271254904572"/>
            </c:manualLayout>
          </c:layout>
        </c:title>
        <c:numFmt formatCode="General" sourceLinked="1"/>
        <c:tickLblPos val="nextTo"/>
        <c:crossAx val="32961638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71896314103070358"/>
          <c:y val="3.0383856398630876E-3"/>
          <c:w val="0.20029547630777486"/>
          <c:h val="0.23117715113329534"/>
        </c:manualLayout>
      </c:layout>
      <c:spPr>
        <a:solidFill>
          <a:prstClr val="white"/>
        </a:solidFill>
      </c:spPr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17.03.2022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17.03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525" tIns="43763" rIns="87525" bIns="43763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65" y="4744165"/>
            <a:ext cx="5438748" cy="3880336"/>
          </a:xfrm>
          <a:prstGeom prst="rect">
            <a:avLst/>
          </a:prstGeom>
        </p:spPr>
        <p:txBody>
          <a:bodyPr vert="horz" lIns="87525" tIns="43763" rIns="87525" bIns="43763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itel</a:t>
            </a:r>
            <a:r>
              <a:rPr lang="de-DE" baseline="0" dirty="0" smtClean="0"/>
              <a:t> erwähnen aber nicht vorles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369530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3 Durchläufe was ist abgebildet?</a:t>
            </a:r>
          </a:p>
          <a:p>
            <a:r>
              <a:rPr lang="de-DE" altLang="zh-CN" dirty="0" smtClean="0"/>
              <a:t>Y Achse</a:t>
            </a:r>
            <a:r>
              <a:rPr lang="de-DE" altLang="zh-CN" baseline="0" dirty="0" smtClean="0"/>
              <a:t> erste </a:t>
            </a:r>
            <a:r>
              <a:rPr lang="de-DE" altLang="zh-CN" baseline="0" dirty="0" err="1" smtClean="0"/>
              <a:t>grafik</a:t>
            </a:r>
            <a:endParaRPr lang="de-DE" altLang="zh-CN" baseline="0" dirty="0" smtClean="0"/>
          </a:p>
          <a:p>
            <a:r>
              <a:rPr lang="de-DE" altLang="zh-CN" baseline="0" dirty="0" smtClean="0"/>
              <a:t>9 </a:t>
            </a:r>
            <a:r>
              <a:rPr lang="de-DE" altLang="zh-CN" baseline="0" dirty="0" err="1" smtClean="0"/>
              <a:t>quadrate</a:t>
            </a:r>
            <a:r>
              <a:rPr lang="de-DE" altLang="zh-CN" baseline="0" dirty="0" smtClean="0"/>
              <a:t> als Summe der Gewichte </a:t>
            </a:r>
          </a:p>
          <a:p>
            <a:r>
              <a:rPr lang="de-DE" altLang="zh-CN" baseline="0" dirty="0" smtClean="0"/>
              <a:t>RF und SVR </a:t>
            </a:r>
            <a:r>
              <a:rPr lang="de-DE" altLang="zh-CN" baseline="0" dirty="0" err="1" smtClean="0"/>
              <a:t>backup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Genauigkeiten in legenden hinzufügen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Datum unter dem </a:t>
            </a:r>
            <a:r>
              <a:rPr lang="de-DE" altLang="zh-CN" dirty="0" err="1" smtClean="0"/>
              <a:t>graph</a:t>
            </a:r>
            <a:endParaRPr lang="de-DE" altLang="zh-CN" dirty="0" smtClean="0"/>
          </a:p>
          <a:p>
            <a:r>
              <a:rPr lang="de-DE" altLang="zh-CN" dirty="0" smtClean="0"/>
              <a:t>Ohne eckige klammer</a:t>
            </a:r>
          </a:p>
          <a:p>
            <a:r>
              <a:rPr lang="de-DE" altLang="zh-CN" dirty="0" smtClean="0"/>
              <a:t>Leistung der RLT Anlage in </a:t>
            </a:r>
            <a:r>
              <a:rPr lang="de-DE" altLang="zh-CN" dirty="0" err="1" smtClean="0"/>
              <a:t>kW</a:t>
            </a:r>
            <a:r>
              <a:rPr lang="de-DE" altLang="zh-CN" dirty="0" smtClean="0"/>
              <a:t> (Raumlufttechnische Anlage)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Großschreiben Ausblick, Warum weitere Informationskriterien</a:t>
            </a:r>
            <a:r>
              <a:rPr lang="de-DE" altLang="zh-CN" baseline="0" dirty="0" smtClean="0"/>
              <a:t> , Ausblick konkreter, 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Sprachlich: eben, einfach abgewöhnen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Layout </a:t>
            </a:r>
            <a:r>
              <a:rPr lang="de-DE" altLang="zh-CN" baseline="0" dirty="0" err="1" smtClean="0"/>
              <a:t>aufzählung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/>
              <a:t>AIC_c</a:t>
            </a:r>
            <a:r>
              <a:rPr lang="de-DE" altLang="zh-CN" baseline="0" dirty="0"/>
              <a:t> für n/p &lt;40 Bias </a:t>
            </a:r>
            <a:r>
              <a:rPr lang="de-DE" altLang="zh-CN" baseline="0" dirty="0" err="1"/>
              <a:t>adjustment</a:t>
            </a:r>
            <a:r>
              <a:rPr lang="de-DE" altLang="zh-CN" baseline="0" dirty="0"/>
              <a:t>, SVR C Parameter gibt an wie sehr </a:t>
            </a:r>
            <a:r>
              <a:rPr lang="de-DE" altLang="zh-CN" baseline="0" dirty="0" err="1"/>
              <a:t>missklassifikationen</a:t>
            </a:r>
            <a:r>
              <a:rPr lang="de-DE" altLang="zh-CN" baseline="0" dirty="0"/>
              <a:t> vermieden werden sollen. </a:t>
            </a:r>
            <a:r>
              <a:rPr lang="de-DE" altLang="zh-CN" baseline="0" dirty="0" err="1"/>
              <a:t>Großes</a:t>
            </a:r>
            <a:r>
              <a:rPr lang="de-DE" altLang="zh-CN" baseline="0" dirty="0"/>
              <a:t> C-&gt; wenig </a:t>
            </a:r>
            <a:r>
              <a:rPr lang="de-DE" altLang="zh-CN" baseline="0" dirty="0" err="1"/>
              <a:t>Missklassifikation</a:t>
            </a:r>
            <a:r>
              <a:rPr lang="de-DE" altLang="zh-CN" baseline="0" dirty="0"/>
              <a:t>-&gt; mehr rechenaufwand. Andersrum für kleines </a:t>
            </a:r>
            <a:r>
              <a:rPr lang="de-DE" altLang="zh-CN" baseline="0" dirty="0" smtClean="0"/>
              <a:t>C</a:t>
            </a:r>
          </a:p>
          <a:p>
            <a:r>
              <a:rPr lang="de-DE" altLang="zh-CN" baseline="0" dirty="0" smtClean="0"/>
              <a:t>BIC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Zeitkomplexität:</a:t>
            </a:r>
            <a:r>
              <a:rPr lang="de-DE" altLang="zh-CN" baseline="0" dirty="0"/>
              <a:t> </a:t>
            </a:r>
            <a:r>
              <a:rPr lang="de-DE" altLang="zh-CN" dirty="0"/>
              <a:t>Änderung der Ausführungszeit eines Algorithmus in</a:t>
            </a:r>
            <a:r>
              <a:rPr lang="de-DE" altLang="zh-CN" baseline="0" dirty="0"/>
              <a:t> Abhängigkeit von der Änderung der Größe der Eingabedaten</a:t>
            </a:r>
          </a:p>
          <a:p>
            <a:r>
              <a:rPr lang="de-DE" altLang="zh-CN" baseline="0" dirty="0"/>
              <a:t>Platzkomplexität : Wie viel Speicherplatz ein Algorithmus in Anhängigkeit von der Größe der Eingabedaten benötig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de-DE" altLang="zh-CN" dirty="0" smtClean="0"/>
              <a:t>Einstieg</a:t>
            </a:r>
            <a:r>
              <a:rPr lang="de-DE" altLang="zh-CN" baseline="0" dirty="0" smtClean="0"/>
              <a:t> Energie reduzieren mit MPC. Kurz MPC erklären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AMPC vorstellen und Vorteile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Machine</a:t>
            </a:r>
            <a:r>
              <a:rPr lang="de-DE" altLang="zh-CN" baseline="0" dirty="0" smtClean="0"/>
              <a:t> Learning </a:t>
            </a:r>
            <a:r>
              <a:rPr lang="de-DE" altLang="zh-CN" baseline="0" dirty="0" err="1" smtClean="0"/>
              <a:t>echtzeitfähigkeit</a:t>
            </a:r>
            <a:endParaRPr lang="de-DE" altLang="zh-CN" baseline="0" dirty="0" smtClean="0"/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klassischer Trainingsprozess mit Genauigkeit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Forschungsfrage 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 Wie lassen sich die </a:t>
            </a:r>
            <a:r>
              <a:rPr lang="de-DE" altLang="zh-CN" baseline="0" dirty="0" err="1" smtClean="0"/>
              <a:t>Bewertungsmetriken</a:t>
            </a:r>
            <a:r>
              <a:rPr lang="de-DE" altLang="zh-CN" baseline="0" dirty="0" smtClean="0"/>
              <a:t> messen</a:t>
            </a:r>
          </a:p>
          <a:p>
            <a:pPr marL="228600" indent="-228600">
              <a:buNone/>
            </a:pPr>
            <a:r>
              <a:rPr lang="de-DE" altLang="zh-CN" baseline="0" dirty="0" smtClean="0"/>
              <a:t> Akronyme ausschreiben, </a:t>
            </a:r>
            <a:r>
              <a:rPr lang="de-DE" altLang="zh-CN" baseline="0" dirty="0" err="1" smtClean="0"/>
              <a:t>vorschlag</a:t>
            </a:r>
            <a:r>
              <a:rPr lang="de-DE" altLang="zh-CN" baseline="0" dirty="0" smtClean="0"/>
              <a:t> auf 2 </a:t>
            </a:r>
            <a:r>
              <a:rPr lang="de-DE" altLang="zh-CN" baseline="0" dirty="0" err="1" smtClean="0"/>
              <a:t>folien</a:t>
            </a:r>
            <a:r>
              <a:rPr lang="de-DE" altLang="zh-CN" baseline="0" dirty="0" smtClean="0"/>
              <a:t>, 1 </a:t>
            </a:r>
            <a:r>
              <a:rPr lang="de-DE" altLang="zh-CN" baseline="0" dirty="0" err="1" smtClean="0"/>
              <a:t>kontext</a:t>
            </a:r>
            <a:r>
              <a:rPr lang="de-DE" altLang="zh-CN" baseline="0" dirty="0" smtClean="0"/>
              <a:t> und </a:t>
            </a:r>
            <a:r>
              <a:rPr lang="de-DE" altLang="zh-CN" baseline="0" dirty="0" err="1" smtClean="0"/>
              <a:t>herausforderungen</a:t>
            </a:r>
            <a:r>
              <a:rPr lang="de-DE" altLang="zh-CN" baseline="0" dirty="0" smtClean="0"/>
              <a:t>, 2 </a:t>
            </a:r>
            <a:r>
              <a:rPr lang="de-DE" altLang="zh-CN" baseline="0" dirty="0" err="1" smtClean="0"/>
              <a:t>lösungen</a:t>
            </a:r>
            <a:endParaRPr lang="de-DE" altLang="zh-CN" baseline="0" dirty="0" smtClean="0"/>
          </a:p>
          <a:p>
            <a:pPr marL="228600" indent="-228600">
              <a:buNone/>
            </a:pPr>
            <a:r>
              <a:rPr lang="de-DE" altLang="zh-CN" baseline="0" dirty="0" err="1" smtClean="0"/>
              <a:t>Rquadrat</a:t>
            </a:r>
            <a:endParaRPr lang="de-DE" altLang="zh-CN" baseline="0" dirty="0" smtClean="0"/>
          </a:p>
          <a:p>
            <a:r>
              <a:rPr lang="de-DE" altLang="zh-CN" dirty="0" smtClean="0"/>
              <a:t>Lokale</a:t>
            </a:r>
            <a:r>
              <a:rPr lang="de-DE" altLang="zh-CN" baseline="0" dirty="0" smtClean="0"/>
              <a:t> Regler</a:t>
            </a:r>
          </a:p>
          <a:p>
            <a:r>
              <a:rPr lang="de-DE" altLang="zh-CN" baseline="0" dirty="0" err="1" smtClean="0"/>
              <a:t>Mpc</a:t>
            </a:r>
            <a:r>
              <a:rPr lang="de-DE" altLang="zh-CN" baseline="0" dirty="0" smtClean="0"/>
              <a:t> ist </a:t>
            </a:r>
            <a:r>
              <a:rPr lang="de-DE" altLang="zh-CN" baseline="0" dirty="0" err="1" smtClean="0"/>
              <a:t>trainingsgrundlage</a:t>
            </a:r>
            <a:r>
              <a:rPr lang="de-DE" altLang="zh-CN" baseline="0" dirty="0" smtClean="0"/>
              <a:t>, </a:t>
            </a:r>
            <a:r>
              <a:rPr lang="de-DE" altLang="zh-CN" baseline="0" dirty="0" err="1" smtClean="0"/>
              <a:t>ampc</a:t>
            </a:r>
            <a:r>
              <a:rPr lang="de-DE" altLang="zh-CN" baseline="0" dirty="0" smtClean="0"/>
              <a:t> imitiert verhalten von </a:t>
            </a:r>
            <a:r>
              <a:rPr lang="de-DE" altLang="zh-CN" baseline="0" dirty="0" err="1" smtClean="0"/>
              <a:t>mpc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de-DE" altLang="zh-CN" dirty="0" smtClean="0"/>
              <a:t>Einstieg</a:t>
            </a:r>
            <a:r>
              <a:rPr lang="de-DE" altLang="zh-CN" baseline="0" dirty="0" smtClean="0"/>
              <a:t> Energie reduzieren mit MPC. Kurz MPC erklären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AMPC vorstellen und Vorteile</a:t>
            </a:r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Information zum</a:t>
            </a:r>
            <a:r>
              <a:rPr lang="de-DE" altLang="zh-CN" baseline="0" dirty="0"/>
              <a:t> </a:t>
            </a:r>
            <a:r>
              <a:rPr lang="de-DE" altLang="zh-CN" baseline="0" dirty="0" err="1"/>
              <a:t>Datenset</a:t>
            </a:r>
            <a:r>
              <a:rPr lang="de-DE" altLang="zh-CN" baseline="0" dirty="0"/>
              <a:t>, Parameter Zeitraume etc.</a:t>
            </a:r>
          </a:p>
          <a:p>
            <a:r>
              <a:rPr lang="de-DE" altLang="zh-CN" baseline="0" dirty="0"/>
              <a:t>Das Gesamte Gebäude wird mit Erneuerbarer Energie versorgt. Nur-Strom-System. Extrem hoher Energiebedarf-&gt; besonders effiziente Nutzung </a:t>
            </a:r>
            <a:r>
              <a:rPr lang="de-DE" altLang="zh-CN" baseline="0" dirty="0" smtClean="0"/>
              <a:t>benötigt</a:t>
            </a:r>
          </a:p>
          <a:p>
            <a:r>
              <a:rPr lang="de-DE" altLang="zh-CN" baseline="0" dirty="0" smtClean="0"/>
              <a:t>Randbedingungen der einzelnen </a:t>
            </a:r>
            <a:r>
              <a:rPr lang="de-DE" altLang="zh-CN" baseline="0" dirty="0" err="1" smtClean="0"/>
              <a:t>sachen</a:t>
            </a:r>
            <a:endParaRPr lang="de-DE" altLang="zh-CN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Gebäudestrombedarf knapp</a:t>
            </a:r>
            <a:r>
              <a:rPr lang="de-DE" baseline="0" dirty="0" smtClean="0"/>
              <a:t> 3GWh pro Jahr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MPC optimiert lade/</a:t>
            </a:r>
            <a:r>
              <a:rPr lang="de-DE" baseline="0" dirty="0" err="1" smtClean="0"/>
              <a:t>entladeleistu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Pc</a:t>
            </a:r>
            <a:r>
              <a:rPr lang="de-DE" baseline="0" dirty="0" smtClean="0"/>
              <a:t>, wirtschaftliche </a:t>
            </a:r>
            <a:r>
              <a:rPr lang="de-DE" baseline="0" dirty="0" err="1" smtClean="0"/>
              <a:t>vorteile</a:t>
            </a:r>
            <a:endParaRPr lang="de-DE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echenkapazität:</a:t>
            </a:r>
            <a:r>
              <a:rPr lang="de-DE" altLang="zh-CN" baseline="0" dirty="0" smtClean="0"/>
              <a:t> Wie wird die Hardware ausgelastet?</a:t>
            </a:r>
          </a:p>
          <a:p>
            <a:r>
              <a:rPr lang="de-DE" altLang="zh-CN" baseline="0" dirty="0" smtClean="0"/>
              <a:t>Komplexität: Wie komplex ist das Modell</a:t>
            </a:r>
          </a:p>
          <a:p>
            <a:r>
              <a:rPr lang="de-DE" altLang="zh-CN" baseline="0" dirty="0" smtClean="0"/>
              <a:t>Genauigkeit: Wie präzise sind die Vorhersagen?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dirty="0" smtClean="0"/>
              <a:t>Zeitkomplexität:</a:t>
            </a:r>
            <a:r>
              <a:rPr lang="de-DE" altLang="zh-CN" baseline="0" dirty="0" smtClean="0"/>
              <a:t> </a:t>
            </a:r>
            <a:r>
              <a:rPr lang="de-DE" altLang="zh-CN" dirty="0" smtClean="0"/>
              <a:t>Änderung der Ausführungszeit eines Algorithmus in</a:t>
            </a:r>
            <a:r>
              <a:rPr lang="de-DE" altLang="zh-CN" baseline="0" dirty="0" smtClean="0"/>
              <a:t> Abhängigkeit von der Änderung der Größe der Eingabedate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baseline="0" dirty="0" smtClean="0"/>
              <a:t>Reihenfolge ändern</a:t>
            </a:r>
          </a:p>
          <a:p>
            <a:endParaRPr lang="de-DE" altLang="zh-CN" baseline="0" dirty="0" smtClean="0"/>
          </a:p>
          <a:p>
            <a:endParaRPr lang="de-DE" altLang="zh-CN" baseline="0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SS </a:t>
            </a:r>
            <a:r>
              <a:rPr lang="de-DE" altLang="zh-CN" dirty="0" err="1" smtClean="0"/>
              <a:t>erklärung</a:t>
            </a:r>
            <a:r>
              <a:rPr lang="de-DE" altLang="zh-CN" dirty="0" smtClean="0"/>
              <a:t> hinschreiben</a:t>
            </a:r>
          </a:p>
          <a:p>
            <a:r>
              <a:rPr lang="de-DE" altLang="zh-CN" dirty="0" smtClean="0"/>
              <a:t>Formeln!</a:t>
            </a:r>
          </a:p>
          <a:p>
            <a:r>
              <a:rPr lang="de-DE" altLang="zh-CN" dirty="0" smtClean="0"/>
              <a:t>Bias </a:t>
            </a:r>
            <a:r>
              <a:rPr lang="de-DE" altLang="zh-CN" dirty="0" err="1" smtClean="0"/>
              <a:t>neuronen</a:t>
            </a:r>
            <a:r>
              <a:rPr lang="de-DE" altLang="zh-CN" dirty="0" smtClean="0"/>
              <a:t> nicht</a:t>
            </a:r>
            <a:r>
              <a:rPr lang="de-DE" altLang="zh-CN" baseline="0" dirty="0" smtClean="0"/>
              <a:t> betrachte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Später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anteile</a:t>
            </a:r>
            <a:r>
              <a:rPr lang="de-DE" altLang="zh-CN" baseline="0" dirty="0" smtClean="0"/>
              <a:t> der Trainings-</a:t>
            </a:r>
            <a:r>
              <a:rPr lang="de-DE" altLang="zh-CN" baseline="0" dirty="0" err="1" smtClean="0"/>
              <a:t>test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datensatz</a:t>
            </a:r>
            <a:endParaRPr lang="de-DE" altLang="zh-CN" baseline="0" dirty="0" smtClean="0"/>
          </a:p>
          <a:p>
            <a:r>
              <a:rPr lang="de-DE" altLang="zh-CN" baseline="0" dirty="0" smtClean="0"/>
              <a:t>VM hinschreiben</a:t>
            </a:r>
          </a:p>
          <a:p>
            <a:r>
              <a:rPr lang="de-DE" altLang="zh-CN" baseline="0" dirty="0" smtClean="0"/>
              <a:t>ADDMO gute Einführung einen Satz:</a:t>
            </a:r>
          </a:p>
          <a:p>
            <a:r>
              <a:rPr lang="de-DE" altLang="zh-CN" baseline="0" dirty="0" smtClean="0"/>
              <a:t>Mündlich trennen </a:t>
            </a:r>
            <a:r>
              <a:rPr lang="de-DE" altLang="zh-CN" baseline="0" dirty="0" err="1" smtClean="0"/>
              <a:t>zielgrößen</a:t>
            </a:r>
            <a:r>
              <a:rPr lang="de-DE" altLang="zh-CN" baseline="0" dirty="0" smtClean="0"/>
              <a:t>, </a:t>
            </a:r>
            <a:r>
              <a:rPr lang="de-DE" altLang="zh-CN" baseline="0" dirty="0" err="1" smtClean="0"/>
              <a:t>Gütemaße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 smtClean="0"/>
              <a:t>Evlt</a:t>
            </a:r>
            <a:r>
              <a:rPr lang="de-DE" altLang="zh-CN" dirty="0" smtClean="0"/>
              <a:t>. Streichen </a:t>
            </a:r>
          </a:p>
          <a:p>
            <a:r>
              <a:rPr lang="de-DE" altLang="zh-CN" dirty="0" smtClean="0"/>
              <a:t>Zielgröße</a:t>
            </a:r>
            <a:r>
              <a:rPr lang="de-DE" altLang="zh-CN" baseline="0" dirty="0" smtClean="0"/>
              <a:t> 1 ausschließen</a:t>
            </a:r>
          </a:p>
          <a:p>
            <a:r>
              <a:rPr lang="de-DE" altLang="zh-CN" baseline="0" dirty="0" smtClean="0"/>
              <a:t>Kernaussagen als </a:t>
            </a:r>
            <a:r>
              <a:rPr lang="de-DE" altLang="zh-CN" baseline="0" dirty="0" err="1" smtClean="0"/>
              <a:t>bullets</a:t>
            </a:r>
            <a:endParaRPr lang="zh-CN" alt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="" xmlns:p14="http://schemas.microsoft.com/office/powerpoint/2010/main" val="381497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1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80536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293773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18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368063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580206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="" xmlns:p14="http://schemas.microsoft.com/office/powerpoint/2010/main" val="3220058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="" xmlns:p14="http://schemas.microsoft.com/office/powerpoint/2010/main" val="26836914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097" y="540456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="" xmlns:p14="http://schemas.microsoft.com/office/powerpoint/2010/main" val="3500427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84890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16800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="" xmlns:p14="http://schemas.microsoft.com/office/powerpoint/2010/main" val="130120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66:3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256000" y="1094400"/>
            <a:ext cx="3552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256000" y="5662800"/>
            <a:ext cx="35520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70401" y="1149408"/>
            <a:ext cx="7531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="" xmlns:p14="http://schemas.microsoft.com/office/powerpoint/2010/main" val="3560835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50: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268800" y="1094400"/>
            <a:ext cx="55392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268800" y="5662800"/>
            <a:ext cx="55392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7" y="871200"/>
            <a:ext cx="5539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="" xmlns:p14="http://schemas.microsoft.com/office/powerpoint/2010/main" val="2159211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6" y="5662801"/>
            <a:ext cx="11424000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84000" y="1094400"/>
            <a:ext cx="11424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063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682848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DD4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22455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125232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775646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383118" y="7416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-2868084" y="525225"/>
            <a:ext cx="27108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Fußzeile</a:t>
            </a:r>
            <a:r>
              <a:rPr lang="de-DE" sz="1000" b="1" baseline="0" dirty="0">
                <a:latin typeface="+mn-lt"/>
              </a:rPr>
              <a:t> anpassen</a:t>
            </a:r>
            <a:r>
              <a:rPr lang="de-DE" sz="1000" b="1" dirty="0">
                <a:latin typeface="+mn-lt"/>
              </a:rPr>
              <a:t>:</a:t>
            </a:r>
            <a:endParaRPr lang="de-DE" sz="1000" b="0" dirty="0">
              <a:latin typeface="+mn-lt"/>
            </a:endParaRP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Karteireiter „Ansicht“  auf Folienmaster klick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Links in der Übersicht die oberste Folie auswähl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Hauptbildschirm kann die Fußzeile für alle Folien durch anklicken bearbeitet werden.</a:t>
            </a:r>
            <a:endParaRPr lang="de-DE" sz="1000" b="1" dirty="0">
              <a:latin typeface="+mn-lt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488000" y="6372000"/>
            <a:ext cx="3600000" cy="430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 smtClean="0">
                <a:solidFill>
                  <a:srgbClr val="9D9EA0"/>
                </a:solidFill>
              </a:rPr>
              <a:t>Bachelorarbeit | David </a:t>
            </a:r>
            <a:r>
              <a:rPr lang="de-DE" sz="900" dirty="0">
                <a:solidFill>
                  <a:srgbClr val="9D9EA0"/>
                </a:solidFill>
              </a:rPr>
              <a:t>Pohlmann |  </a:t>
            </a:r>
            <a:r>
              <a:rPr lang="de-DE" sz="900" dirty="0" smtClean="0">
                <a:solidFill>
                  <a:srgbClr val="9D9EA0"/>
                </a:solidFill>
              </a:rPr>
              <a:t>22.03.2022</a:t>
            </a:r>
            <a:endParaRPr lang="de-DE" sz="900" dirty="0"/>
          </a:p>
        </p:txBody>
      </p:sp>
      <p:cxnSp>
        <p:nvCxnSpPr>
          <p:cNvPr id="12" name="Gerader Verbinder 11"/>
          <p:cNvCxnSpPr/>
          <p:nvPr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 userDrawn="1"/>
        </p:nvSpPr>
        <p:spPr>
          <a:xfrm>
            <a:off x="384000" y="6372001"/>
            <a:ext cx="8741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BEDA6A0-9FCC-47AA-99A4-88E72C69C2BF}" type="slidenum">
              <a:rPr lang="de-DE" sz="900" smtClean="0">
                <a:solidFill>
                  <a:srgbClr val="9D9EA0"/>
                </a:solidFill>
              </a:rPr>
              <a:pPr/>
              <a:t>‹Nr.›</a:t>
            </a:fld>
            <a:endParaRPr lang="de-DE" sz="900" dirty="0">
              <a:solidFill>
                <a:srgbClr val="9D9EA0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6" name="Grafik 15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9" r:id="rId3"/>
    <p:sldLayoutId id="2147483772" r:id="rId4"/>
    <p:sldLayoutId id="2147483760" r:id="rId5"/>
    <p:sldLayoutId id="2147483761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8081928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9" name="Grafik 18"/>
          <p:cNvPicPr>
            <a:picLocks/>
          </p:cNvPicPr>
          <p:nvPr userDrawn="1"/>
        </p:nvPicPr>
        <p:blipFill>
          <a:blip r:embed="rId1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801" y="6350400"/>
            <a:ext cx="2966756" cy="403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1390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91" r:id="rId3"/>
    <p:sldLayoutId id="2147483792" r:id="rId4"/>
    <p:sldLayoutId id="2147483789" r:id="rId5"/>
    <p:sldLayoutId id="2147483790" r:id="rId6"/>
    <p:sldLayoutId id="2147483779" r:id="rId7"/>
    <p:sldLayoutId id="2147483796" r:id="rId8"/>
    <p:sldLayoutId id="2147483797" r:id="rId9"/>
    <p:sldLayoutId id="2147483773" r:id="rId10"/>
    <p:sldLayoutId id="2147483795" r:id="rId11"/>
    <p:sldLayoutId id="2147483794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7.png"/><Relationship Id="rId5" Type="http://schemas.openxmlformats.org/officeDocument/2006/relationships/slideLayout" Target="../slideLayouts/slideLayout1.xml"/><Relationship Id="rId28" Type="http://schemas.openxmlformats.org/officeDocument/2006/relationships/image" Target="../media/image58.svg"/><Relationship Id="rId4" Type="http://schemas.openxmlformats.org/officeDocument/2006/relationships/tags" Target="../tags/tag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5.xml"/><Relationship Id="rId9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png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2.tiff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DB889C9C-AE82-7943-8AB0-F81CC3DBE2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avid </a:t>
            </a:r>
            <a:r>
              <a:rPr lang="de-DE" dirty="0" smtClean="0"/>
              <a:t>Pohlmann </a:t>
            </a:r>
            <a:r>
              <a:rPr lang="de-DE" dirty="0" err="1" smtClean="0"/>
              <a:t>B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="" xmlns:a16="http://schemas.microsoft.com/office/drawing/2014/main" id="{DE724F20-C824-0042-AA21-4CD60F1CC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24000" cy="1383756"/>
          </a:xfrm>
        </p:spPr>
        <p:txBody>
          <a:bodyPr/>
          <a:lstStyle/>
          <a:p>
            <a:r>
              <a:rPr lang="de-DE" dirty="0"/>
              <a:t>Vergleich von </a:t>
            </a:r>
            <a:r>
              <a:rPr lang="de-DE" dirty="0" err="1"/>
              <a:t>Machine</a:t>
            </a:r>
            <a:r>
              <a:rPr lang="de-DE" dirty="0"/>
              <a:t> Learning Verfahren für Zeitreihenanalyse in Gebäudeenergiesysteme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uf </a:t>
            </a:r>
            <a:r>
              <a:rPr lang="de-DE" dirty="0"/>
              <a:t>Basis von </a:t>
            </a:r>
            <a:r>
              <a:rPr lang="de-DE" dirty="0" err="1"/>
              <a:t>Bewertungsmetriken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="" xmlns:a16="http://schemas.microsoft.com/office/drawing/2014/main" id="{1565C347-A55C-EF41-B82D-4BA91AFED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000" y="4753304"/>
            <a:ext cx="11424000" cy="1508166"/>
          </a:xfrm>
        </p:spPr>
        <p:txBody>
          <a:bodyPr/>
          <a:lstStyle/>
          <a:p>
            <a:r>
              <a:rPr lang="en-GB" dirty="0"/>
              <a:t>Comparison of machine learning methods for </a:t>
            </a:r>
            <a:r>
              <a:rPr lang="en-GB" dirty="0" smtClean="0"/>
              <a:t>time-series </a:t>
            </a:r>
            <a:r>
              <a:rPr lang="en-GB" dirty="0"/>
              <a:t>analysis in building energy systems based on </a:t>
            </a:r>
            <a:r>
              <a:rPr lang="en-GB" dirty="0" smtClean="0"/>
              <a:t>Key </a:t>
            </a:r>
            <a:r>
              <a:rPr lang="en-GB" dirty="0"/>
              <a:t>P</a:t>
            </a:r>
            <a:r>
              <a:rPr lang="en-GB" dirty="0" smtClean="0"/>
              <a:t>erformance </a:t>
            </a:r>
            <a:r>
              <a:rPr lang="en-GB" dirty="0"/>
              <a:t>I</a:t>
            </a:r>
            <a:r>
              <a:rPr lang="en-GB" dirty="0" smtClean="0"/>
              <a:t>ndicators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27256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: Vergleich der beiden ANN Varianten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6685948" y="2774314"/>
            <a:ext cx="2806396" cy="1939200"/>
          </a:xfrm>
        </p:spPr>
        <p:txBody>
          <a:bodyPr/>
          <a:lstStyle/>
          <a:p>
            <a:r>
              <a:rPr lang="de-DE" altLang="zh-CN" dirty="0" smtClean="0"/>
              <a:t>Variante A</a:t>
            </a:r>
          </a:p>
          <a:p>
            <a:pPr>
              <a:buNone/>
            </a:pPr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 smtClean="0"/>
              <a:t>Variante B</a:t>
            </a:r>
          </a:p>
          <a:p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5" name="Abgerundetes Rechteck 4"/>
          <p:cNvSpPr/>
          <p:nvPr/>
        </p:nvSpPr>
        <p:spPr>
          <a:xfrm>
            <a:off x="10254342" y="2188030"/>
            <a:ext cx="1774371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185057" y="838200"/>
          <a:ext cx="6422572" cy="3374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Diagramm 7"/>
          <p:cNvGraphicFramePr/>
          <p:nvPr/>
        </p:nvGraphicFramePr>
        <p:xfrm>
          <a:off x="163286" y="3049210"/>
          <a:ext cx="6422572" cy="2981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Abgerundetes Rechteck 8"/>
          <p:cNvSpPr/>
          <p:nvPr/>
        </p:nvSpPr>
        <p:spPr>
          <a:xfrm>
            <a:off x="6745368" y="778031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A: Anzahl der 	 	Verbindungen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6756254" y="1540031"/>
            <a:ext cx="3008229" cy="720000"/>
          </a:xfrm>
          <a:prstGeom prst="round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B: Summe der 	Gewichte</a:t>
            </a:r>
            <a:endParaRPr lang="zh-CN" altLang="de-DE" dirty="0" err="1" smtClean="0"/>
          </a:p>
        </p:txBody>
      </p:sp>
      <p:grpSp>
        <p:nvGrpSpPr>
          <p:cNvPr id="11" name="Gruppieren 143"/>
          <p:cNvGrpSpPr/>
          <p:nvPr/>
        </p:nvGrpSpPr>
        <p:grpSpPr>
          <a:xfrm>
            <a:off x="7223807" y="4778827"/>
            <a:ext cx="2203223" cy="772887"/>
            <a:chOff x="8998178" y="5116284"/>
            <a:chExt cx="2203223" cy="772887"/>
          </a:xfrm>
        </p:grpSpPr>
        <p:grpSp>
          <p:nvGrpSpPr>
            <p:cNvPr id="12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4" name="Abgerundetes Rechteck 13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</a:t>
                </a:r>
                <a:r>
                  <a:rPr lang="de-DE" altLang="zh-CN" sz="2800" b="1" dirty="0" smtClean="0"/>
                  <a:t>B</a:t>
                </a:r>
                <a:endParaRPr lang="zh-CN" altLang="de-DE" sz="2800" b="1" dirty="0" err="1" smtClean="0"/>
              </a:p>
            </p:txBody>
          </p:sp>
          <p:sp>
            <p:nvSpPr>
              <p:cNvPr id="15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3" name="Freeform 935">
              <a:extLst>
                <a:ext uri="{FF2B5EF4-FFF2-40B4-BE49-F238E27FC236}">
                  <a16:creationId xmlns=""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8100000" y="2700000"/>
            <a:ext cx="1985144" cy="504000"/>
            <a:chOff x="8064000" y="2700000"/>
            <a:chExt cx="1985144" cy="504000"/>
          </a:xfrm>
        </p:grpSpPr>
        <p:grpSp>
          <p:nvGrpSpPr>
            <p:cNvPr id="37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21" name="Abgerundetes Rechteck 20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2" name="Freeform 1342">
                  <a:extLst>
                    <a:ext uri="{FF2B5EF4-FFF2-40B4-BE49-F238E27FC236}">
                      <a16:creationId xmlns="" xmlns:a16="http://schemas.microsoft.com/office/drawing/2014/main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17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18" name="Abgerundetes Rechteck 17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19" name="Freeform 1086">
                  <a:extLst>
                    <a:ext uri="{FF2B5EF4-FFF2-40B4-BE49-F238E27FC236}">
                      <a16:creationId xmlns=""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5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2520000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49" name="Gruppieren 48"/>
          <p:cNvGrpSpPr/>
          <p:nvPr/>
        </p:nvGrpSpPr>
        <p:grpSpPr>
          <a:xfrm>
            <a:off x="8100000" y="3708000"/>
            <a:ext cx="1985144" cy="504000"/>
            <a:chOff x="8064000" y="2700000"/>
            <a:chExt cx="1985144" cy="504000"/>
          </a:xfrm>
        </p:grpSpPr>
        <p:grpSp>
          <p:nvGrpSpPr>
            <p:cNvPr id="50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56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58" name="Abgerundetes Rechteck 57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9" name="Freeform 1342">
                  <a:extLst>
                    <a:ext uri="{FF2B5EF4-FFF2-40B4-BE49-F238E27FC236}">
                      <a16:creationId xmlns="" xmlns:a16="http://schemas.microsoft.com/office/drawing/2014/main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7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DD402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51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52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54" name="Abgerundetes Rechteck 53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5" name="Freeform 1086">
                  <a:extLst>
                    <a:ext uri="{FF2B5EF4-FFF2-40B4-BE49-F238E27FC236}">
                      <a16:creationId xmlns=""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2520000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Graphic spid="6" grpId="0" uiExpand="1">
        <p:bldSub>
          <a:bldChart bld="series"/>
        </p:bldSub>
      </p:bldGraphic>
      <p:bldGraphic spid="8" grpId="0">
        <p:bldSub>
          <a:bldChart bld="series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- ANN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0" y="2264229"/>
          <a:ext cx="8458200" cy="186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Abgerundetes Rechteck 4"/>
          <p:cNvSpPr/>
          <p:nvPr/>
        </p:nvSpPr>
        <p:spPr>
          <a:xfrm>
            <a:off x="10417629" y="2220686"/>
            <a:ext cx="1774371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0" y="489856"/>
          <a:ext cx="8088085" cy="2034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Diagramm 6"/>
          <p:cNvGraphicFramePr/>
          <p:nvPr/>
        </p:nvGraphicFramePr>
        <p:xfrm>
          <a:off x="0" y="4027713"/>
          <a:ext cx="10515600" cy="2231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hteck 7"/>
          <p:cNvSpPr/>
          <p:nvPr/>
        </p:nvSpPr>
        <p:spPr>
          <a:xfrm>
            <a:off x="2754086" y="849086"/>
            <a:ext cx="1905000" cy="5138058"/>
          </a:xfrm>
          <a:prstGeom prst="rect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8186057" y="827314"/>
            <a:ext cx="2079171" cy="1012372"/>
            <a:chOff x="8186057" y="827314"/>
            <a:chExt cx="2079171" cy="1012372"/>
          </a:xfrm>
        </p:grpSpPr>
        <p:sp>
          <p:nvSpPr>
            <p:cNvPr id="15" name="Abgerundetes Rechteck 14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4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9274627" y="1045027"/>
              <a:ext cx="948242" cy="468000"/>
              <a:chOff x="8381999" y="881742"/>
              <a:chExt cx="948242" cy="468000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8381999" y="881742"/>
                <a:ext cx="504000" cy="468000"/>
                <a:chOff x="816428" y="979714"/>
                <a:chExt cx="504000" cy="468000"/>
              </a:xfrm>
            </p:grpSpPr>
            <p:sp>
              <p:nvSpPr>
                <p:cNvPr id="11" name="Abgerundetes Rechteck 10"/>
                <p:cNvSpPr/>
                <p:nvPr/>
              </p:nvSpPr>
              <p:spPr>
                <a:xfrm>
                  <a:off x="816428" y="979714"/>
                  <a:ext cx="504000" cy="468000"/>
                </a:xfrm>
                <a:prstGeom prst="roundRect">
                  <a:avLst/>
                </a:prstGeom>
                <a:solidFill>
                  <a:srgbClr val="C00000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de-DE" sz="16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Freeform 1086">
                  <a:extLst>
                    <a:ext uri="{FF2B5EF4-FFF2-40B4-BE49-F238E27FC236}">
                      <a16:creationId xmlns="" xmlns:a16="http://schemas.microsoft.com/office/drawing/2014/main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901287" y="1041258"/>
                  <a:ext cx="355501" cy="36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1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2360489">
                <a:off x="9053712" y="967242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rgbClr val="16821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6" name="Textfeld 15"/>
            <p:cNvSpPr txBox="1"/>
            <p:nvPr/>
          </p:nvSpPr>
          <p:spPr>
            <a:xfrm>
              <a:off x="8458200" y="1099457"/>
              <a:ext cx="55784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IC in</a:t>
              </a:r>
            </a:p>
            <a:p>
              <a:r>
                <a:rPr lang="de-DE" altLang="zh-CN" sz="1600" dirty="0" smtClean="0"/>
                <a:t> 3-5</a:t>
              </a:r>
              <a:endParaRPr lang="zh-CN" altLang="de-DE" sz="1600" dirty="0" smtClean="0"/>
            </a:p>
          </p:txBody>
        </p:sp>
      </p:grpSp>
      <p:sp>
        <p:nvSpPr>
          <p:cNvPr id="18" name="Rechteck 17"/>
          <p:cNvSpPr/>
          <p:nvPr/>
        </p:nvSpPr>
        <p:spPr>
          <a:xfrm>
            <a:off x="4125686" y="4169230"/>
            <a:ext cx="1828800" cy="1828799"/>
          </a:xfrm>
          <a:prstGeom prst="rect">
            <a:avLst/>
          </a:prstGeom>
          <a:solidFill>
            <a:srgbClr val="E7A603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8229599" y="1992086"/>
            <a:ext cx="2079171" cy="1012372"/>
            <a:chOff x="8186057" y="827314"/>
            <a:chExt cx="2079171" cy="1012372"/>
          </a:xfrm>
        </p:grpSpPr>
        <p:sp>
          <p:nvSpPr>
            <p:cNvPr id="20" name="Abgerundetes Rechteck 1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E7A603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8327571" y="990600"/>
              <a:ext cx="175208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Prädiktionszeit </a:t>
              </a:r>
            </a:p>
            <a:p>
              <a:r>
                <a:rPr lang="de-DE" altLang="zh-CN" sz="1600" dirty="0" smtClean="0"/>
                <a:t>ungewöhnlich hoch</a:t>
              </a:r>
            </a:p>
            <a:p>
              <a:r>
                <a:rPr lang="de-DE" altLang="zh-CN" sz="1600" dirty="0" smtClean="0"/>
                <a:t>in 5-7</a:t>
              </a:r>
              <a:endParaRPr lang="zh-CN" altLang="de-DE" sz="1600" dirty="0" smtClean="0"/>
            </a:p>
          </p:txBody>
        </p:sp>
      </p:grpSp>
      <p:sp>
        <p:nvSpPr>
          <p:cNvPr id="28" name="Rechteck 27"/>
          <p:cNvSpPr/>
          <p:nvPr/>
        </p:nvSpPr>
        <p:spPr>
          <a:xfrm>
            <a:off x="6694714" y="762000"/>
            <a:ext cx="653143" cy="5301343"/>
          </a:xfrm>
          <a:prstGeom prst="rect">
            <a:avLst/>
          </a:prstGeom>
          <a:solidFill>
            <a:srgbClr val="92D05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8251370" y="3124201"/>
            <a:ext cx="2079171" cy="1012372"/>
            <a:chOff x="8186057" y="827314"/>
            <a:chExt cx="2079171" cy="1012372"/>
          </a:xfrm>
        </p:grpSpPr>
        <p:sp>
          <p:nvSpPr>
            <p:cNvPr id="30" name="Abgerundetes Rechteck 2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92D050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8327571" y="990600"/>
              <a:ext cx="150361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este Zielgröße </a:t>
              </a:r>
              <a:endParaRPr lang="zh-CN" altLang="de-DE" sz="1600" dirty="0" smtClean="0"/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8591345" y="3581399"/>
            <a:ext cx="1004482" cy="430887"/>
            <a:chOff x="8591345" y="3581399"/>
            <a:chExt cx="1004482" cy="430887"/>
          </a:xfrm>
        </p:grpSpPr>
        <p:sp>
          <p:nvSpPr>
            <p:cNvPr id="32" name="Freeform 935">
              <a:extLst>
                <a:ext uri="{FF2B5EF4-FFF2-40B4-BE49-F238E27FC236}">
                  <a16:creationId xmlns=""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591345" y="3623410"/>
              <a:ext cx="378483" cy="347677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9307286" y="3581399"/>
              <a:ext cx="288541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2800" b="1" dirty="0" smtClean="0">
                  <a:latin typeface="Arial Black" pitchFamily="34" charset="0"/>
                </a:rPr>
                <a:t>9</a:t>
              </a:r>
              <a:r>
                <a:rPr lang="de-DE" altLang="zh-CN" sz="1400" dirty="0" smtClean="0"/>
                <a:t> </a:t>
              </a:r>
              <a:endParaRPr lang="zh-CN" altLang="de-DE" sz="1400" dirty="0" smtClean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categoryEl"/>
        </p:bldSub>
      </p:bldGraphic>
      <p:bldGraphic spid="6" grpId="0" uiExpand="1">
        <p:bldSub>
          <a:bldChart bld="category"/>
        </p:bldSub>
      </p:bldGraphic>
      <p:bldGraphic spid="7" grpId="0" uiExpand="1">
        <p:bldSub>
          <a:bldChart bld="category"/>
        </p:bldSub>
      </p:bldGraphic>
      <p:bldP spid="8" grpId="0" animBg="1"/>
      <p:bldP spid="8" grpId="1" animBg="1"/>
      <p:bldP spid="18" grpId="0" animBg="1"/>
      <p:bldP spid="18" grpId="1" animBg="1"/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Vergleich der ML-Algorithmen für den FUBIC-Datensatz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130629" y="774095"/>
          <a:ext cx="1189808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Abgerundetes Rechteck 5"/>
          <p:cNvSpPr/>
          <p:nvPr/>
        </p:nvSpPr>
        <p:spPr>
          <a:xfrm>
            <a:off x="9900000" y="22367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SVR erreicht die höchste Genauigkeit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9900000" y="34559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 hat die kürzeste Prädiktionszeit</a:t>
            </a:r>
            <a:endParaRPr lang="zh-CN" altLang="de-DE" dirty="0" err="1" smtClean="0"/>
          </a:p>
        </p:txBody>
      </p:sp>
      <p:grpSp>
        <p:nvGrpSpPr>
          <p:cNvPr id="144" name="Gruppieren 143"/>
          <p:cNvGrpSpPr/>
          <p:nvPr/>
        </p:nvGrpSpPr>
        <p:grpSpPr>
          <a:xfrm>
            <a:off x="9694864" y="5138055"/>
            <a:ext cx="2203223" cy="772887"/>
            <a:chOff x="8998178" y="5116284"/>
            <a:chExt cx="2203223" cy="772887"/>
          </a:xfrm>
        </p:grpSpPr>
        <p:grpSp>
          <p:nvGrpSpPr>
            <p:cNvPr id="9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=""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10908000" y="1152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78 </a:t>
            </a:r>
            <a:endParaRPr lang="zh-CN" altLang="de-DE" sz="16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0908000" y="1476000"/>
            <a:ext cx="1009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 </a:t>
            </a:r>
            <a:r>
              <a:rPr lang="de-DE" altLang="zh-CN" sz="1600" dirty="0" smtClean="0"/>
              <a:t>= 0,995 </a:t>
            </a:r>
            <a:endParaRPr lang="zh-CN" altLang="de-DE" sz="1600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0908000" y="1800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98 </a:t>
            </a:r>
            <a:endParaRPr lang="zh-CN" altLang="de-DE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6" grpId="0" animBg="1"/>
      <p:bldP spid="8" grpId="0" animBg="1"/>
      <p:bldP spid="12" grpId="0"/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Übertragbarkeit prüfen am Beispiel des E.ON ERC Datensatzes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163286" y="795866"/>
          <a:ext cx="12028714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Abgerundetes Rechteck 7"/>
          <p:cNvSpPr/>
          <p:nvPr/>
        </p:nvSpPr>
        <p:spPr>
          <a:xfrm>
            <a:off x="9900000" y="3477685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 hat die kürzeste Prädiktionszeit</a:t>
            </a:r>
            <a:endParaRPr lang="zh-CN" altLang="de-DE" dirty="0" err="1" smtClean="0"/>
          </a:p>
        </p:txBody>
      </p:sp>
      <p:grpSp>
        <p:nvGrpSpPr>
          <p:cNvPr id="3" name="Gruppieren 143"/>
          <p:cNvGrpSpPr/>
          <p:nvPr/>
        </p:nvGrpSpPr>
        <p:grpSpPr>
          <a:xfrm>
            <a:off x="9651321" y="5138055"/>
            <a:ext cx="2203223" cy="772887"/>
            <a:chOff x="8998178" y="5116284"/>
            <a:chExt cx="2203223" cy="772887"/>
          </a:xfrm>
        </p:grpSpPr>
        <p:grpSp>
          <p:nvGrpSpPr>
            <p:cNvPr id="5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="" xmlns:a16="http://schemas.microsoft.com/office/drawing/2014/main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3" name="Abgerundetes Rechteck 12"/>
          <p:cNvSpPr/>
          <p:nvPr/>
        </p:nvSpPr>
        <p:spPr>
          <a:xfrm>
            <a:off x="9900000" y="21605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Genauigkeit geringer als beim FUBIC</a:t>
            </a:r>
            <a:endParaRPr lang="zh-CN" alt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11124000" y="1152000"/>
            <a:ext cx="10868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 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894 </a:t>
            </a:r>
            <a:endParaRPr lang="zh-CN" altLang="de-DE" sz="1600" dirty="0" smtClean="0"/>
          </a:p>
        </p:txBody>
      </p:sp>
      <p:sp>
        <p:nvSpPr>
          <p:cNvPr id="15" name="Rechteck 14"/>
          <p:cNvSpPr/>
          <p:nvPr/>
        </p:nvSpPr>
        <p:spPr>
          <a:xfrm>
            <a:off x="11088000" y="1440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7 </a:t>
            </a:r>
            <a:endParaRPr lang="zh-CN" altLang="de-DE" sz="1600" dirty="0"/>
          </a:p>
        </p:txBody>
      </p:sp>
      <p:sp>
        <p:nvSpPr>
          <p:cNvPr id="16" name="Rechteck 15"/>
          <p:cNvSpPr/>
          <p:nvPr/>
        </p:nvSpPr>
        <p:spPr>
          <a:xfrm>
            <a:off x="11088000" y="1764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3 </a:t>
            </a:r>
            <a:endParaRPr lang="zh-CN" altLang="de-DE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8" grpId="0" animBg="1"/>
      <p:bldP spid="13" grpId="0" animBg="1"/>
      <p:bldP spid="12" grpId="1"/>
      <p:bldP spid="15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Ausblick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383119" y="871200"/>
            <a:ext cx="5636682" cy="5292000"/>
          </a:xfrm>
        </p:spPr>
        <p:txBody>
          <a:bodyPr/>
          <a:lstStyle/>
          <a:p>
            <a:r>
              <a:rPr lang="de-DE" altLang="zh-CN" dirty="0"/>
              <a:t>Wahl der Komplexitätsparameter ist zielführend und ein gutes </a:t>
            </a:r>
            <a:r>
              <a:rPr lang="de-DE" altLang="zh-CN" dirty="0" err="1" smtClean="0"/>
              <a:t>Gütemaß</a:t>
            </a:r>
            <a:endParaRPr lang="de-DE" altLang="zh-CN" dirty="0" smtClean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r>
              <a:rPr lang="de-DE" altLang="zh-CN" dirty="0"/>
              <a:t>Reduktion der Prädiktionszeit und Komplexitätsparameter um 50 %-90 %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Übertragbarkeit wird durch E.ON ERC Datensatz bestätigt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 Random </a:t>
            </a:r>
            <a:r>
              <a:rPr lang="de-DE" altLang="zh-CN" dirty="0" err="1"/>
              <a:t>Forest</a:t>
            </a:r>
            <a:r>
              <a:rPr lang="de-DE" altLang="zh-CN" dirty="0"/>
              <a:t> erzielt für beide Datensätze das beste Modell</a:t>
            </a:r>
          </a:p>
          <a:p>
            <a:endParaRPr lang="zh-CN" altLang="de-DE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4593772" y="2100943"/>
            <a:ext cx="955342" cy="1001401"/>
            <a:chOff x="3984172" y="2177143"/>
            <a:chExt cx="955342" cy="1001401"/>
          </a:xfrm>
        </p:grpSpPr>
        <p:grpSp>
          <p:nvGrpSpPr>
            <p:cNvPr id="7" name="Gruppieren 6"/>
            <p:cNvGrpSpPr/>
            <p:nvPr/>
          </p:nvGrpSpPr>
          <p:grpSpPr>
            <a:xfrm>
              <a:off x="3995057" y="2177143"/>
              <a:ext cx="504000" cy="468000"/>
              <a:chOff x="1524000" y="914400"/>
              <a:chExt cx="504000" cy="468000"/>
            </a:xfrm>
          </p:grpSpPr>
          <p:sp>
            <p:nvSpPr>
              <p:cNvPr id="8" name="Abgerundetes Rechteck 7"/>
              <p:cNvSpPr/>
              <p:nvPr/>
            </p:nvSpPr>
            <p:spPr>
              <a:xfrm>
                <a:off x="1524000" y="914400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00115" y="975943"/>
                <a:ext cx="360000" cy="330909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984172" y="2710544"/>
              <a:ext cx="504000" cy="468000"/>
              <a:chOff x="2340429" y="903515"/>
              <a:chExt cx="504000" cy="468000"/>
            </a:xfrm>
          </p:grpSpPr>
          <p:sp>
            <p:nvSpPr>
              <p:cNvPr id="11" name="Abgerundetes Rechteck 10"/>
              <p:cNvSpPr/>
              <p:nvPr/>
            </p:nvSpPr>
            <p:spPr>
              <a:xfrm>
                <a:off x="2340429" y="903515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Freeform 1342">
                <a:extLst>
                  <a:ext uri="{FF2B5EF4-FFF2-40B4-BE49-F238E27FC236}">
                    <a16:creationId xmlns=""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423144" y="975921"/>
                <a:ext cx="309171" cy="330933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13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2700000">
              <a:off x="4612341" y="27960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16821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2700000">
              <a:off x="4623227" y="22626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rgbClr val="16821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Textplatzhalter 15"/>
          <p:cNvSpPr txBox="1">
            <a:spLocks/>
          </p:cNvSpPr>
          <p:nvPr/>
        </p:nvSpPr>
        <p:spPr>
          <a:xfrm>
            <a:off x="6653291" y="838542"/>
            <a:ext cx="4820254" cy="5292000"/>
          </a:xfrm>
          <a:prstGeom prst="rect">
            <a:avLst/>
          </a:prstGeom>
        </p:spPr>
        <p:txBody>
          <a:bodyPr lIns="0" tIns="0" rIns="0" bIns="0"/>
          <a:lstStyle/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Weitere Zielgrößen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Andere Gewichtung von KPI</a:t>
            </a:r>
            <a:r>
              <a:rPr lang="de-DE" altLang="zh-CN" baseline="-25000" dirty="0" smtClean="0"/>
              <a:t>1</a:t>
            </a:r>
            <a:r>
              <a:rPr lang="de-DE" altLang="zh-CN" dirty="0" smtClean="0"/>
              <a:t> und KPI</a:t>
            </a:r>
            <a:r>
              <a:rPr lang="de-DE" altLang="zh-CN" baseline="-25000" dirty="0" smtClean="0"/>
              <a:t>2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baseline="-25000" dirty="0" smtClean="0"/>
              <a:t> </a:t>
            </a:r>
            <a:r>
              <a:rPr lang="de-DE" altLang="zh-CN" dirty="0" smtClean="0"/>
              <a:t>Andere Kombinationen zwischen den Zielgrößen</a:t>
            </a:r>
            <a:r>
              <a:rPr lang="de-DE" altLang="zh-CN" baseline="-25000" dirty="0" smtClean="0"/>
              <a:t> </a:t>
            </a:r>
            <a:r>
              <a:rPr lang="de-DE" altLang="zh-CN" dirty="0" smtClean="0"/>
              <a:t> 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tabLst>
                <a:tab pos="216000" algn="l"/>
              </a:tabLst>
            </a:pPr>
            <a:endParaRPr lang="de-DE" altLang="zh-CN" dirty="0" smtClean="0"/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Komplexitätsparameter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RF: Anzahl der 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ANN: Andere Lösung für Betrag der Gewichte finden.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uf weitere Algorithmen anwend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Regressionalgorithmen: Lasso, Entscheidungs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 </a:t>
            </a:r>
            <a:r>
              <a:rPr lang="de-DE" altLang="zh-CN" dirty="0" err="1" smtClean="0"/>
              <a:t>Unüberwachtes</a:t>
            </a:r>
            <a:r>
              <a:rPr lang="de-DE" altLang="zh-CN" dirty="0" smtClean="0"/>
              <a:t> Lernen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Informationskriterien testen 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>
                <a:cs typeface="Arial" panose="020B0604020202020204" pitchFamily="34" charset="0"/>
              </a:rPr>
              <a:t>FIC, DIC </a:t>
            </a:r>
            <a:endParaRPr lang="zh-CN" altLang="de-DE" dirty="0" smtClean="0"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>
          <a:xfrm>
            <a:off x="1812000" y="5458691"/>
            <a:ext cx="4154400" cy="704509"/>
          </a:xfrm>
        </p:spPr>
        <p:txBody>
          <a:bodyPr/>
          <a:lstStyle/>
          <a:p>
            <a:r>
              <a:rPr lang="de-DE" b="1" dirty="0"/>
              <a:t>David Pohlmann</a:t>
            </a:r>
          </a:p>
          <a:p>
            <a:endParaRPr lang="de-DE" sz="1600" b="1" dirty="0"/>
          </a:p>
          <a:p>
            <a:r>
              <a:rPr lang="de-DE" sz="1200" dirty="0"/>
              <a:t>david.pohlmann@eonerc.rwth-aachen.de</a:t>
            </a:r>
            <a:endParaRPr lang="de-DE" sz="1100" dirty="0"/>
          </a:p>
        </p:txBody>
      </p:sp>
    </p:spTree>
    <p:extLst>
      <p:ext uri="{BB962C8B-B14F-4D97-AF65-F5344CB8AC3E}">
        <p14:creationId xmlns="" xmlns:p14="http://schemas.microsoft.com/office/powerpoint/2010/main" val="151808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 </a:t>
            </a:r>
            <a:r>
              <a:rPr lang="de-DE" altLang="zh-CN" dirty="0"/>
              <a:t>Ausblick</a:t>
            </a:r>
            <a:endParaRPr lang="zh-CN" altLang="de-DE" dirty="0"/>
          </a:p>
        </p:txBody>
      </p:sp>
      <p:sp>
        <p:nvSpPr>
          <p:cNvPr id="4" name="ee4pConten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77189" y="2047891"/>
            <a:ext cx="3599406" cy="1033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Einarbeitung in </a:t>
            </a:r>
            <a:r>
              <a:rPr lang="de-DE" altLang="zh-CN" dirty="0" err="1">
                <a:latin typeface="+mn-lt"/>
              </a:rPr>
              <a:t>Machine</a:t>
            </a:r>
            <a:r>
              <a:rPr lang="de-DE" altLang="zh-CN" dirty="0">
                <a:latin typeface="+mn-lt"/>
              </a:rPr>
              <a:t> Learning und die einzelnen ML Verfahren</a:t>
            </a:r>
          </a:p>
          <a:p>
            <a:pPr lvl="1"/>
            <a:r>
              <a:rPr lang="de-DE" altLang="zh-CN" dirty="0">
                <a:latin typeface="+mn-lt"/>
              </a:rPr>
              <a:t>Literaturrecherche</a:t>
            </a:r>
          </a:p>
          <a:p>
            <a:pPr lvl="1"/>
            <a:r>
              <a:rPr lang="de-DE" altLang="zh-CN" dirty="0">
                <a:latin typeface="+mn-lt"/>
              </a:rPr>
              <a:t>Suche nach geeignet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und Formeln</a:t>
            </a:r>
          </a:p>
        </p:txBody>
      </p:sp>
      <p:sp>
        <p:nvSpPr>
          <p:cNvPr id="5" name="ee4pContent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62021" y="2185051"/>
            <a:ext cx="3599406" cy="9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 smtClean="0">
                <a:latin typeface="+mn-lt"/>
              </a:rPr>
              <a:t>Einarbeitung </a:t>
            </a:r>
            <a:r>
              <a:rPr lang="de-DE" altLang="zh-CN" dirty="0">
                <a:latin typeface="+mn-lt"/>
              </a:rPr>
              <a:t>mit </a:t>
            </a:r>
            <a:r>
              <a:rPr lang="de-DE" altLang="zh-CN" dirty="0" err="1">
                <a:latin typeface="+mn-lt"/>
              </a:rPr>
              <a:t>ADDmo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Aufsetzen einer virtuellen Maschine</a:t>
            </a:r>
          </a:p>
          <a:p>
            <a:pPr lvl="1"/>
            <a:r>
              <a:rPr lang="de-DE" altLang="zh-CN" dirty="0">
                <a:latin typeface="+mn-lt"/>
              </a:rPr>
              <a:t>Einarbeitung in das </a:t>
            </a:r>
            <a:r>
              <a:rPr lang="de-DE" altLang="zh-CN" dirty="0" err="1">
                <a:latin typeface="+mn-lt"/>
              </a:rPr>
              <a:t>Datenset</a:t>
            </a:r>
            <a:endParaRPr lang="de-DE" altLang="zh-CN" dirty="0">
              <a:latin typeface="+mn-lt"/>
            </a:endParaRPr>
          </a:p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6" name="ee4pContent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48020" y="1736995"/>
            <a:ext cx="3599406" cy="8781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=""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514349" y="1332000"/>
            <a:ext cx="3371852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Erledigt</a:t>
            </a:r>
            <a:endParaRPr lang="en-GB" dirty="0"/>
          </a:p>
        </p:txBody>
      </p:sp>
      <p:sp>
        <p:nvSpPr>
          <p:cNvPr id="11" name="Rechteck 10">
            <a:extLst>
              <a:ext uri="{FF2B5EF4-FFF2-40B4-BE49-F238E27FC236}">
                <a16:creationId xmlns=""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4240649" y="1332000"/>
            <a:ext cx="3422024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Aufgaben</a:t>
            </a:r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="" xmlns:a16="http://schemas.microsoft.com/office/drawing/2014/main" id="{5457DB12-97CF-4551-A8C0-2D6D5610F507}"/>
              </a:ext>
            </a:extLst>
          </p:cNvPr>
          <p:cNvSpPr/>
          <p:nvPr/>
        </p:nvSpPr>
        <p:spPr>
          <a:xfrm>
            <a:off x="7966947" y="1332000"/>
            <a:ext cx="3289317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usblick</a:t>
            </a:r>
            <a:endParaRPr lang="en-GB" dirty="0"/>
          </a:p>
        </p:txBody>
      </p:sp>
      <p:sp>
        <p:nvSpPr>
          <p:cNvPr id="14" name="ee4pContent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972021" y="2218579"/>
            <a:ext cx="3599406" cy="20516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Implementierung einer gemischten KPI</a:t>
            </a:r>
          </a:p>
          <a:p>
            <a:pPr lvl="1"/>
            <a:r>
              <a:rPr lang="de-DE" altLang="zh-CN" dirty="0">
                <a:latin typeface="+mn-lt"/>
              </a:rPr>
              <a:t>Modelle auf Skalierbarkeit </a:t>
            </a:r>
            <a:r>
              <a:rPr lang="de-DE" altLang="zh-CN" dirty="0" smtClean="0">
                <a:latin typeface="+mn-lt"/>
              </a:rPr>
              <a:t>und Reproduzierbarkeit prüfen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Bestes Modell für FUBIC finden</a:t>
            </a:r>
          </a:p>
          <a:p>
            <a:pPr lvl="1"/>
            <a:r>
              <a:rPr lang="de-DE" altLang="zh-CN" dirty="0">
                <a:latin typeface="+mn-lt"/>
              </a:rPr>
              <a:t>Versuch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zu verallgemeinern</a:t>
            </a:r>
          </a:p>
        </p:txBody>
      </p:sp>
      <p:sp>
        <p:nvSpPr>
          <p:cNvPr id="15" name="Freeform 811">
            <a:extLst>
              <a:ext uri="{FF2B5EF4-FFF2-40B4-BE49-F238E27FC236}">
                <a16:creationId xmlns="" xmlns:a16="http://schemas.microsoft.com/office/drawing/2014/main" id="{DCD1F24A-5B0B-4409-A8A1-26AB57A6569A}"/>
              </a:ext>
            </a:extLst>
          </p:cNvPr>
          <p:cNvSpPr>
            <a:spLocks noChangeAspect="1"/>
          </p:cNvSpPr>
          <p:nvPr/>
        </p:nvSpPr>
        <p:spPr bwMode="auto">
          <a:xfrm>
            <a:off x="964169" y="1433076"/>
            <a:ext cx="458906" cy="355652"/>
          </a:xfrm>
          <a:custGeom>
            <a:avLst/>
            <a:gdLst>
              <a:gd name="T0" fmla="*/ 497 w 506"/>
              <a:gd name="T1" fmla="*/ 98 h 388"/>
              <a:gd name="T2" fmla="*/ 260 w 506"/>
              <a:gd name="T3" fmla="*/ 335 h 388"/>
              <a:gd name="T4" fmla="*/ 216 w 506"/>
              <a:gd name="T5" fmla="*/ 379 h 388"/>
              <a:gd name="T6" fmla="*/ 194 w 506"/>
              <a:gd name="T7" fmla="*/ 388 h 388"/>
              <a:gd name="T8" fmla="*/ 171 w 506"/>
              <a:gd name="T9" fmla="*/ 379 h 388"/>
              <a:gd name="T10" fmla="*/ 127 w 506"/>
              <a:gd name="T11" fmla="*/ 335 h 388"/>
              <a:gd name="T12" fmla="*/ 9 w 506"/>
              <a:gd name="T13" fmla="*/ 216 h 388"/>
              <a:gd name="T14" fmla="*/ 0 w 506"/>
              <a:gd name="T15" fmla="*/ 194 h 388"/>
              <a:gd name="T16" fmla="*/ 9 w 506"/>
              <a:gd name="T17" fmla="*/ 172 h 388"/>
              <a:gd name="T18" fmla="*/ 53 w 506"/>
              <a:gd name="T19" fmla="*/ 127 h 388"/>
              <a:gd name="T20" fmla="*/ 75 w 506"/>
              <a:gd name="T21" fmla="*/ 118 h 388"/>
              <a:gd name="T22" fmla="*/ 98 w 506"/>
              <a:gd name="T23" fmla="*/ 127 h 388"/>
              <a:gd name="T24" fmla="*/ 194 w 506"/>
              <a:gd name="T25" fmla="*/ 224 h 388"/>
              <a:gd name="T26" fmla="*/ 408 w 506"/>
              <a:gd name="T27" fmla="*/ 9 h 388"/>
              <a:gd name="T28" fmla="*/ 430 w 506"/>
              <a:gd name="T29" fmla="*/ 0 h 388"/>
              <a:gd name="T30" fmla="*/ 452 w 506"/>
              <a:gd name="T31" fmla="*/ 9 h 388"/>
              <a:gd name="T32" fmla="*/ 497 w 506"/>
              <a:gd name="T33" fmla="*/ 54 h 388"/>
              <a:gd name="T34" fmla="*/ 506 w 506"/>
              <a:gd name="T35" fmla="*/ 76 h 388"/>
              <a:gd name="T36" fmla="*/ 497 w 506"/>
              <a:gd name="T37" fmla="*/ 9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6" h="388">
                <a:moveTo>
                  <a:pt x="497" y="98"/>
                </a:moveTo>
                <a:cubicBezTo>
                  <a:pt x="260" y="335"/>
                  <a:pt x="260" y="335"/>
                  <a:pt x="260" y="335"/>
                </a:cubicBezTo>
                <a:cubicBezTo>
                  <a:pt x="216" y="379"/>
                  <a:pt x="216" y="379"/>
                  <a:pt x="216" y="379"/>
                </a:cubicBezTo>
                <a:cubicBezTo>
                  <a:pt x="210" y="385"/>
                  <a:pt x="202" y="388"/>
                  <a:pt x="194" y="388"/>
                </a:cubicBezTo>
                <a:cubicBezTo>
                  <a:pt x="185" y="388"/>
                  <a:pt x="177" y="385"/>
                  <a:pt x="171" y="379"/>
                </a:cubicBezTo>
                <a:cubicBezTo>
                  <a:pt x="127" y="335"/>
                  <a:pt x="127" y="335"/>
                  <a:pt x="127" y="335"/>
                </a:cubicBezTo>
                <a:cubicBezTo>
                  <a:pt x="9" y="216"/>
                  <a:pt x="9" y="216"/>
                  <a:pt x="9" y="216"/>
                </a:cubicBezTo>
                <a:cubicBezTo>
                  <a:pt x="3" y="210"/>
                  <a:pt x="0" y="202"/>
                  <a:pt x="0" y="194"/>
                </a:cubicBezTo>
                <a:cubicBezTo>
                  <a:pt x="0" y="186"/>
                  <a:pt x="3" y="178"/>
                  <a:pt x="9" y="172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59" y="121"/>
                  <a:pt x="67" y="118"/>
                  <a:pt x="75" y="118"/>
                </a:cubicBezTo>
                <a:cubicBezTo>
                  <a:pt x="84" y="118"/>
                  <a:pt x="92" y="121"/>
                  <a:pt x="98" y="127"/>
                </a:cubicBezTo>
                <a:cubicBezTo>
                  <a:pt x="194" y="224"/>
                  <a:pt x="194" y="224"/>
                  <a:pt x="194" y="224"/>
                </a:cubicBezTo>
                <a:cubicBezTo>
                  <a:pt x="408" y="9"/>
                  <a:pt x="408" y="9"/>
                  <a:pt x="408" y="9"/>
                </a:cubicBezTo>
                <a:cubicBezTo>
                  <a:pt x="414" y="3"/>
                  <a:pt x="422" y="0"/>
                  <a:pt x="430" y="0"/>
                </a:cubicBezTo>
                <a:cubicBezTo>
                  <a:pt x="438" y="0"/>
                  <a:pt x="447" y="3"/>
                  <a:pt x="452" y="9"/>
                </a:cubicBezTo>
                <a:cubicBezTo>
                  <a:pt x="497" y="54"/>
                  <a:pt x="497" y="54"/>
                  <a:pt x="497" y="54"/>
                </a:cubicBezTo>
                <a:cubicBezTo>
                  <a:pt x="503" y="59"/>
                  <a:pt x="506" y="68"/>
                  <a:pt x="506" y="76"/>
                </a:cubicBezTo>
                <a:cubicBezTo>
                  <a:pt x="506" y="84"/>
                  <a:pt x="503" y="92"/>
                  <a:pt x="497" y="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6" name="Freeform 817">
            <a:extLst>
              <a:ext uri="{FF2B5EF4-FFF2-40B4-BE49-F238E27FC236}">
                <a16:creationId xmlns="" xmlns:a16="http://schemas.microsoft.com/office/drawing/2014/main" id="{3582D515-3315-4469-9F7A-B931C3C6D2F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50901" y="1390593"/>
            <a:ext cx="453171" cy="458906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7" name="Freeform 893">
            <a:extLst>
              <a:ext uri="{FF2B5EF4-FFF2-40B4-BE49-F238E27FC236}">
                <a16:creationId xmlns="" xmlns:a16="http://schemas.microsoft.com/office/drawing/2014/main" id="{E070AE72-C781-4D83-96A2-4373023BE2AA}"/>
              </a:ext>
            </a:extLst>
          </p:cNvPr>
          <p:cNvSpPr>
            <a:spLocks noChangeAspect="1"/>
          </p:cNvSpPr>
          <p:nvPr/>
        </p:nvSpPr>
        <p:spPr bwMode="auto">
          <a:xfrm>
            <a:off x="8254095" y="1363700"/>
            <a:ext cx="527742" cy="476116"/>
          </a:xfrm>
          <a:custGeom>
            <a:avLst/>
            <a:gdLst>
              <a:gd name="T0" fmla="*/ 579 w 585"/>
              <a:gd name="T1" fmla="*/ 203 h 523"/>
              <a:gd name="T2" fmla="*/ 412 w 585"/>
              <a:gd name="T3" fmla="*/ 370 h 523"/>
              <a:gd name="T4" fmla="*/ 397 w 585"/>
              <a:gd name="T5" fmla="*/ 377 h 523"/>
              <a:gd name="T6" fmla="*/ 376 w 585"/>
              <a:gd name="T7" fmla="*/ 356 h 523"/>
              <a:gd name="T8" fmla="*/ 376 w 585"/>
              <a:gd name="T9" fmla="*/ 272 h 523"/>
              <a:gd name="T10" fmla="*/ 303 w 585"/>
              <a:gd name="T11" fmla="*/ 272 h 523"/>
              <a:gd name="T12" fmla="*/ 70 w 585"/>
              <a:gd name="T13" fmla="*/ 455 h 523"/>
              <a:gd name="T14" fmla="*/ 71 w 585"/>
              <a:gd name="T15" fmla="*/ 495 h 523"/>
              <a:gd name="T16" fmla="*/ 73 w 585"/>
              <a:gd name="T17" fmla="*/ 512 h 523"/>
              <a:gd name="T18" fmla="*/ 63 w 585"/>
              <a:gd name="T19" fmla="*/ 523 h 523"/>
              <a:gd name="T20" fmla="*/ 53 w 585"/>
              <a:gd name="T21" fmla="*/ 517 h 523"/>
              <a:gd name="T22" fmla="*/ 41 w 585"/>
              <a:gd name="T23" fmla="*/ 493 h 523"/>
              <a:gd name="T24" fmla="*/ 0 w 585"/>
              <a:gd name="T25" fmla="*/ 345 h 523"/>
              <a:gd name="T26" fmla="*/ 17 w 585"/>
              <a:gd name="T27" fmla="*/ 236 h 523"/>
              <a:gd name="T28" fmla="*/ 303 w 585"/>
              <a:gd name="T29" fmla="*/ 105 h 523"/>
              <a:gd name="T30" fmla="*/ 376 w 585"/>
              <a:gd name="T31" fmla="*/ 105 h 523"/>
              <a:gd name="T32" fmla="*/ 376 w 585"/>
              <a:gd name="T33" fmla="*/ 21 h 523"/>
              <a:gd name="T34" fmla="*/ 397 w 585"/>
              <a:gd name="T35" fmla="*/ 0 h 523"/>
              <a:gd name="T36" fmla="*/ 412 w 585"/>
              <a:gd name="T37" fmla="*/ 6 h 523"/>
              <a:gd name="T38" fmla="*/ 579 w 585"/>
              <a:gd name="T39" fmla="*/ 174 h 523"/>
              <a:gd name="T40" fmla="*/ 585 w 585"/>
              <a:gd name="T41" fmla="*/ 188 h 523"/>
              <a:gd name="T42" fmla="*/ 579 w 585"/>
              <a:gd name="T43" fmla="*/ 20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5" h="523">
                <a:moveTo>
                  <a:pt x="579" y="203"/>
                </a:moveTo>
                <a:cubicBezTo>
                  <a:pt x="412" y="370"/>
                  <a:pt x="412" y="370"/>
                  <a:pt x="412" y="370"/>
                </a:cubicBezTo>
                <a:cubicBezTo>
                  <a:pt x="408" y="374"/>
                  <a:pt x="403" y="377"/>
                  <a:pt x="397" y="377"/>
                </a:cubicBezTo>
                <a:cubicBezTo>
                  <a:pt x="386" y="377"/>
                  <a:pt x="376" y="367"/>
                  <a:pt x="376" y="356"/>
                </a:cubicBezTo>
                <a:cubicBezTo>
                  <a:pt x="376" y="272"/>
                  <a:pt x="376" y="272"/>
                  <a:pt x="376" y="272"/>
                </a:cubicBezTo>
                <a:cubicBezTo>
                  <a:pt x="303" y="272"/>
                  <a:pt x="303" y="272"/>
                  <a:pt x="303" y="272"/>
                </a:cubicBezTo>
                <a:cubicBezTo>
                  <a:pt x="162" y="272"/>
                  <a:pt x="70" y="299"/>
                  <a:pt x="70" y="455"/>
                </a:cubicBezTo>
                <a:cubicBezTo>
                  <a:pt x="70" y="468"/>
                  <a:pt x="70" y="482"/>
                  <a:pt x="71" y="495"/>
                </a:cubicBezTo>
                <a:cubicBezTo>
                  <a:pt x="72" y="501"/>
                  <a:pt x="73" y="506"/>
                  <a:pt x="73" y="512"/>
                </a:cubicBezTo>
                <a:cubicBezTo>
                  <a:pt x="73" y="518"/>
                  <a:pt x="69" y="523"/>
                  <a:pt x="63" y="523"/>
                </a:cubicBezTo>
                <a:cubicBezTo>
                  <a:pt x="58" y="523"/>
                  <a:pt x="56" y="521"/>
                  <a:pt x="53" y="517"/>
                </a:cubicBezTo>
                <a:cubicBezTo>
                  <a:pt x="49" y="511"/>
                  <a:pt x="45" y="500"/>
                  <a:pt x="41" y="493"/>
                </a:cubicBezTo>
                <a:cubicBezTo>
                  <a:pt x="23" y="451"/>
                  <a:pt x="0" y="391"/>
                  <a:pt x="0" y="345"/>
                </a:cubicBezTo>
                <a:cubicBezTo>
                  <a:pt x="0" y="309"/>
                  <a:pt x="3" y="271"/>
                  <a:pt x="17" y="236"/>
                </a:cubicBezTo>
                <a:cubicBezTo>
                  <a:pt x="63" y="124"/>
                  <a:pt x="196" y="105"/>
                  <a:pt x="303" y="105"/>
                </a:cubicBezTo>
                <a:cubicBezTo>
                  <a:pt x="376" y="105"/>
                  <a:pt x="376" y="105"/>
                  <a:pt x="376" y="105"/>
                </a:cubicBezTo>
                <a:cubicBezTo>
                  <a:pt x="376" y="21"/>
                  <a:pt x="376" y="21"/>
                  <a:pt x="376" y="21"/>
                </a:cubicBezTo>
                <a:cubicBezTo>
                  <a:pt x="376" y="10"/>
                  <a:pt x="386" y="0"/>
                  <a:pt x="397" y="0"/>
                </a:cubicBezTo>
                <a:cubicBezTo>
                  <a:pt x="403" y="0"/>
                  <a:pt x="408" y="3"/>
                  <a:pt x="412" y="6"/>
                </a:cubicBezTo>
                <a:cubicBezTo>
                  <a:pt x="579" y="174"/>
                  <a:pt x="579" y="174"/>
                  <a:pt x="579" y="174"/>
                </a:cubicBezTo>
                <a:cubicBezTo>
                  <a:pt x="583" y="178"/>
                  <a:pt x="585" y="183"/>
                  <a:pt x="585" y="188"/>
                </a:cubicBezTo>
                <a:cubicBezTo>
                  <a:pt x="585" y="194"/>
                  <a:pt x="583" y="199"/>
                  <a:pt x="579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599C711C-0EE5-4B72-BC6E-E5DFD4DC9A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3019359" y="4199040"/>
            <a:ext cx="435286" cy="4352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ool – </a:t>
            </a:r>
            <a:r>
              <a:rPr lang="de-DE" altLang="zh-CN" dirty="0" err="1" smtClean="0"/>
              <a:t>Automated</a:t>
            </a:r>
            <a:r>
              <a:rPr lang="de-DE" altLang="zh-CN" dirty="0" smtClean="0"/>
              <a:t> Data-</a:t>
            </a:r>
            <a:r>
              <a:rPr lang="de-DE" altLang="zh-CN" dirty="0" err="1" smtClean="0"/>
              <a:t>driven</a:t>
            </a:r>
            <a:r>
              <a:rPr lang="de-DE" altLang="zh-CN" dirty="0" smtClean="0"/>
              <a:t> Modeling </a:t>
            </a:r>
            <a:r>
              <a:rPr lang="de-DE" altLang="zh-CN" dirty="0" err="1" smtClean="0"/>
              <a:t>of</a:t>
            </a:r>
            <a:r>
              <a:rPr lang="de-DE" altLang="zh-CN" dirty="0" smtClean="0"/>
              <a:t> (</a:t>
            </a:r>
            <a:r>
              <a:rPr lang="de-DE" altLang="zh-CN" dirty="0" err="1" smtClean="0"/>
              <a:t>Addmo</a:t>
            </a:r>
            <a:r>
              <a:rPr lang="de-DE" altLang="zh-CN" dirty="0" smtClean="0"/>
              <a:t>)</a:t>
            </a:r>
            <a:endParaRPr lang="zh-CN" altLang="de-DE" dirty="0"/>
          </a:p>
        </p:txBody>
      </p:sp>
      <p:sp>
        <p:nvSpPr>
          <p:cNvPr id="20" name="Rechteck 19"/>
          <p:cNvSpPr/>
          <p:nvPr/>
        </p:nvSpPr>
        <p:spPr>
          <a:xfrm>
            <a:off x="2160000" y="947056"/>
            <a:ext cx="7920000" cy="684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put Data</a:t>
            </a:r>
            <a:endParaRPr lang="zh-CN" altLang="de-DE" dirty="0" smtClean="0"/>
          </a:p>
        </p:txBody>
      </p:sp>
      <p:sp>
        <p:nvSpPr>
          <p:cNvPr id="23" name="Rechteck 22"/>
          <p:cNvSpPr/>
          <p:nvPr/>
        </p:nvSpPr>
        <p:spPr>
          <a:xfrm>
            <a:off x="2165065" y="3113312"/>
            <a:ext cx="7920000" cy="684000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uned</a:t>
            </a:r>
            <a:r>
              <a:rPr lang="de-DE" altLang="zh-CN" dirty="0" smtClean="0"/>
              <a:t> Data</a:t>
            </a:r>
            <a:endParaRPr lang="zh-CN" altLang="de-DE" dirty="0" smtClean="0"/>
          </a:p>
        </p:txBody>
      </p:sp>
      <p:sp>
        <p:nvSpPr>
          <p:cNvPr id="26" name="Rechteck 25"/>
          <p:cNvSpPr/>
          <p:nvPr/>
        </p:nvSpPr>
        <p:spPr>
          <a:xfrm>
            <a:off x="2160000" y="5268684"/>
            <a:ext cx="7920000" cy="684000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rained</a:t>
            </a:r>
            <a:r>
              <a:rPr lang="de-DE" altLang="zh-CN" dirty="0" smtClean="0"/>
              <a:t> Model</a:t>
            </a:r>
            <a:endParaRPr lang="zh-CN" alt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2160000" y="1692000"/>
            <a:ext cx="7920000" cy="6840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Data Tuning</a:t>
            </a:r>
            <a:endParaRPr lang="zh-CN" altLang="de-DE" dirty="0" smtClean="0"/>
          </a:p>
        </p:txBody>
      </p:sp>
      <p:sp>
        <p:nvSpPr>
          <p:cNvPr id="22" name="Rechteck 21"/>
          <p:cNvSpPr/>
          <p:nvPr/>
        </p:nvSpPr>
        <p:spPr>
          <a:xfrm>
            <a:off x="2160000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Preprocessing</a:t>
            </a:r>
            <a:endParaRPr lang="zh-CN" altLang="de-DE" dirty="0" smtClean="0"/>
          </a:p>
        </p:txBody>
      </p:sp>
      <p:sp>
        <p:nvSpPr>
          <p:cNvPr id="27" name="Rechteck 26"/>
          <p:cNvSpPr/>
          <p:nvPr/>
        </p:nvSpPr>
        <p:spPr>
          <a:xfrm>
            <a:off x="6106886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Feature </a:t>
            </a:r>
            <a:r>
              <a:rPr lang="de-DE" altLang="zh-CN" dirty="0" err="1" smtClean="0"/>
              <a:t>Selection</a:t>
            </a:r>
            <a:endParaRPr lang="zh-CN" altLang="de-DE" dirty="0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2160000" y="3858257"/>
            <a:ext cx="7920000" cy="1368000"/>
            <a:chOff x="2160000" y="1692000"/>
            <a:chExt cx="7920000" cy="1368000"/>
          </a:xfrm>
        </p:grpSpPr>
        <p:sp>
          <p:nvSpPr>
            <p:cNvPr id="32" name="Rechteck 31"/>
            <p:cNvSpPr/>
            <p:nvPr/>
          </p:nvSpPr>
          <p:spPr>
            <a:xfrm>
              <a:off x="2160000" y="1692000"/>
              <a:ext cx="7920000" cy="6840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Tuning</a:t>
              </a:r>
              <a:endParaRPr lang="zh-CN" altLang="de-DE" dirty="0" smtClean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2160000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</a:t>
              </a:r>
              <a:r>
                <a:rPr lang="de-DE" altLang="zh-CN" dirty="0" err="1" smtClean="0"/>
                <a:t>selection</a:t>
              </a:r>
              <a:endParaRPr lang="zh-CN" altLang="de-DE" dirty="0" smtClean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6106886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Hyperparameter </a:t>
              </a:r>
              <a:r>
                <a:rPr lang="de-DE" altLang="zh-CN" dirty="0" err="1" smtClean="0"/>
                <a:t>tuning</a:t>
              </a:r>
              <a:endParaRPr lang="zh-CN" altLang="de-DE" dirty="0" smtClean="0"/>
            </a:p>
          </p:txBody>
        </p:sp>
      </p:grpSp>
      <p:sp>
        <p:nvSpPr>
          <p:cNvPr id="35" name="Textfeld 5">
            <a:extLst>
              <a:ext uri="{FF2B5EF4-FFF2-40B4-BE49-F238E27FC236}">
                <a16:creationId xmlns=""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672269" y="6045176"/>
            <a:ext cx="1132040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“Automated Data-driven </a:t>
            </a:r>
            <a:r>
              <a:rPr lang="en-GB" sz="1100" i="1" dirty="0" err="1" smtClean="0">
                <a:solidFill>
                  <a:schemeClr val="bg2"/>
                </a:solidFill>
              </a:rPr>
              <a:t>Modeling</a:t>
            </a:r>
            <a:r>
              <a:rPr lang="en-GB" sz="1100" i="1" dirty="0" smtClean="0">
                <a:solidFill>
                  <a:schemeClr val="bg2"/>
                </a:solidFill>
              </a:rPr>
              <a:t> of Building Energy Systems via Machine Learning Algorithms”(2019), Martin </a:t>
            </a:r>
            <a:r>
              <a:rPr lang="en-GB" sz="1100" i="1" dirty="0" err="1" smtClean="0">
                <a:solidFill>
                  <a:schemeClr val="bg2"/>
                </a:solidFill>
              </a:rPr>
              <a:t>Rätz</a:t>
            </a:r>
            <a:r>
              <a:rPr lang="en-GB" sz="1100" i="1" dirty="0" smtClean="0">
                <a:solidFill>
                  <a:schemeClr val="bg2"/>
                </a:solidFill>
              </a:rPr>
              <a:t>; Marc </a:t>
            </a:r>
            <a:r>
              <a:rPr lang="en-GB" sz="1100" i="1" dirty="0" err="1" smtClean="0">
                <a:solidFill>
                  <a:schemeClr val="bg2"/>
                </a:solidFill>
              </a:rPr>
              <a:t>Baranski</a:t>
            </a:r>
            <a:r>
              <a:rPr lang="en-GB" sz="1100" i="1" dirty="0" smtClean="0">
                <a:solidFill>
                  <a:schemeClr val="bg2"/>
                </a:solidFill>
              </a:rPr>
              <a:t>, Amir Pasha </a:t>
            </a:r>
            <a:r>
              <a:rPr lang="en-GB" sz="1100" i="1" dirty="0" err="1" smtClean="0">
                <a:solidFill>
                  <a:schemeClr val="bg2"/>
                </a:solidFill>
              </a:rPr>
              <a:t>Javadi</a:t>
            </a:r>
            <a:r>
              <a:rPr lang="en-GB" sz="1100" i="1" dirty="0" smtClean="0">
                <a:solidFill>
                  <a:schemeClr val="bg2"/>
                </a:solidFill>
              </a:rPr>
              <a:t>, Konstantin </a:t>
            </a:r>
            <a:r>
              <a:rPr lang="en-GB" sz="1100" i="1" dirty="0" err="1" smtClean="0">
                <a:solidFill>
                  <a:schemeClr val="bg2"/>
                </a:solidFill>
              </a:rPr>
              <a:t>Finkbeiner</a:t>
            </a:r>
            <a:endParaRPr lang="en-GB" sz="1400" i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fik 39" descr="bic rs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571" y="3004457"/>
            <a:ext cx="1665514" cy="585141"/>
          </a:xfrm>
          <a:prstGeom prst="rect">
            <a:avLst/>
          </a:prstGeom>
        </p:spPr>
      </p:pic>
      <p:pic>
        <p:nvPicPr>
          <p:cNvPr id="38" name="Grafik 37" descr="aic rs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7573" y="3047938"/>
            <a:ext cx="1583112" cy="5356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Technik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</p:txBody>
      </p:sp>
      <p:sp>
        <p:nvSpPr>
          <p:cNvPr id="4" name="Abgerundetes Rechteck 3"/>
          <p:cNvSpPr/>
          <p:nvPr/>
        </p:nvSpPr>
        <p:spPr>
          <a:xfrm>
            <a:off x="3214807" y="987552"/>
            <a:ext cx="5760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Ausgewählte </a:t>
            </a:r>
            <a:r>
              <a:rPr lang="de-DE" altLang="zh-CN" dirty="0" err="1"/>
              <a:t>Machine</a:t>
            </a:r>
            <a:r>
              <a:rPr lang="de-DE" altLang="zh-CN" dirty="0"/>
              <a:t> Learning Verfahren</a:t>
            </a:r>
            <a:endParaRPr lang="zh-CN" alt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504000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Random </a:t>
            </a:r>
            <a:r>
              <a:rPr lang="de-DE" altLang="zh-CN" dirty="0" err="1"/>
              <a:t>Forest</a:t>
            </a:r>
            <a:r>
              <a:rPr lang="de-DE" altLang="zh-CN" dirty="0"/>
              <a:t> (RF)</a:t>
            </a:r>
            <a:endParaRPr lang="zh-CN" alt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4661646" y="1872000"/>
            <a:ext cx="2718867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ünstliches </a:t>
            </a:r>
            <a:r>
              <a:rPr lang="de-DE" altLang="zh-CN" dirty="0"/>
              <a:t>N</a:t>
            </a:r>
            <a:r>
              <a:rPr lang="de-DE" altLang="zh-CN" dirty="0" smtClean="0"/>
              <a:t>euronales </a:t>
            </a:r>
            <a:r>
              <a:rPr lang="de-DE" altLang="zh-CN" dirty="0"/>
              <a:t>Netzwerk (KNN)</a:t>
            </a:r>
            <a:endParaRPr lang="zh-CN" alt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9083266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Support </a:t>
            </a:r>
            <a:r>
              <a:rPr lang="de-DE" altLang="zh-CN" dirty="0" err="1"/>
              <a:t>Vector</a:t>
            </a:r>
            <a:r>
              <a:rPr lang="de-DE" altLang="zh-CN" dirty="0"/>
              <a:t> Regression (SVR)</a:t>
            </a:r>
            <a:endParaRPr lang="zh-CN" alt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=""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8337658" y="2641104"/>
            <a:ext cx="3337608" cy="1636198"/>
            <a:chOff x="382588" y="863576"/>
            <a:chExt cx="11474450" cy="2965737"/>
          </a:xfrm>
          <a:effectLst>
            <a:outerShdw blurRad="50800" dist="50800" dir="5400000" algn="ctr" rotWithShape="0">
              <a:schemeClr val="bg1"/>
            </a:outerShdw>
          </a:effectLst>
        </p:grpSpPr>
        <p:sp>
          <p:nvSpPr>
            <p:cNvPr id="18" name="Rechteck 17">
              <a:extLst>
                <a:ext uri="{FF2B5EF4-FFF2-40B4-BE49-F238E27FC236}">
                  <a16:creationId xmlns=""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610113"/>
            </a:xfrm>
            <a:prstGeom prst="rect">
              <a:avLst/>
            </a:prstGeom>
            <a:noFill/>
            <a:ln w="22225"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=""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999102" y="863576"/>
              <a:ext cx="3532383" cy="59575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IC&amp;BIC</a:t>
              </a:r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504000" y="4454856"/>
            <a:ext cx="11171266" cy="1892916"/>
            <a:chOff x="504000" y="4153104"/>
            <a:chExt cx="11171266" cy="1892916"/>
          </a:xfrm>
        </p:grpSpPr>
        <p:grpSp>
          <p:nvGrpSpPr>
            <p:cNvPr id="20" name="Gruppieren 19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4426003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1" name="Rechteck 20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8337658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5" name="Rechteck 24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504000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8" name="Rechteck 27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sp>
          <p:nvSpPr>
            <p:cNvPr id="30" name="Textfeld 29"/>
            <p:cNvSpPr txBox="1"/>
            <p:nvPr/>
          </p:nvSpPr>
          <p:spPr>
            <a:xfrm>
              <a:off x="720000" y="4630248"/>
              <a:ext cx="3099816" cy="141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Rf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  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Mmnlog</a:t>
              </a:r>
              <a:r>
                <a:rPr lang="de-DE" altLang="zh-CN" sz="1400" dirty="0"/>
                <a:t>(n)) </a:t>
              </a:r>
            </a:p>
            <a:p>
              <a:r>
                <a:rPr lang="de-DE" altLang="zh-CN" sz="1400" dirty="0" err="1"/>
                <a:t>Rf</a:t>
              </a:r>
              <a:r>
                <a:rPr lang="de-DE" altLang="zh-CN" sz="1400" baseline="-25000" dirty="0" err="1"/>
                <a:t>Prädiktion</a:t>
              </a:r>
              <a:r>
                <a:rPr lang="de-DE" altLang="zh-CN" sz="1400" baseline="-25000" dirty="0"/>
                <a:t> </a:t>
              </a:r>
              <a:r>
                <a:rPr lang="de-DE" altLang="zh-CN" sz="1400" dirty="0"/>
                <a:t> : </a:t>
              </a:r>
              <a:r>
                <a:rPr lang="de-DE" altLang="zh-CN" sz="1400" dirty="0" smtClean="0"/>
                <a:t> O(</a:t>
              </a:r>
              <a:r>
                <a:rPr lang="de-DE" altLang="zh-CN" sz="1400" dirty="0" err="1" smtClean="0"/>
                <a:t>mM</a:t>
              </a:r>
              <a:r>
                <a:rPr lang="de-DE" altLang="zh-CN" sz="1400" dirty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400" baseline="-25000" dirty="0"/>
                <a:t> </a:t>
              </a:r>
              <a:r>
                <a:rPr lang="de-DE" altLang="zh-CN" sz="1200" dirty="0"/>
                <a:t>M: Anzahl der Bäume</a:t>
              </a:r>
            </a:p>
            <a:p>
              <a:r>
                <a:rPr lang="de-DE" altLang="zh-CN" sz="1200" dirty="0"/>
                <a:t> </a:t>
              </a:r>
              <a:r>
                <a:rPr lang="de-DE" altLang="zh-CN" sz="1200" dirty="0" smtClean="0"/>
                <a:t>m: Anzahl </a:t>
              </a:r>
              <a:r>
                <a:rPr lang="de-DE" altLang="zh-CN" sz="1200" dirty="0"/>
                <a:t>der Parameter</a:t>
              </a:r>
            </a:p>
            <a:p>
              <a:r>
                <a:rPr lang="de-DE" altLang="zh-CN" sz="1200" dirty="0"/>
                <a:t> n: Anzahl der Dateneinträge</a:t>
              </a:r>
            </a:p>
            <a:p>
              <a:r>
                <a:rPr lang="de-DE" altLang="zh-CN" sz="1400" dirty="0"/>
                <a:t> </a:t>
              </a:r>
              <a:endParaRPr lang="de-DE" altLang="zh-CN" sz="1400" baseline="-25000" dirty="0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514348" y="2641104"/>
            <a:ext cx="11027180" cy="3583558"/>
            <a:chOff x="514348" y="2952000"/>
            <a:chExt cx="11027180" cy="3583558"/>
          </a:xfrm>
        </p:grpSpPr>
        <p:grpSp>
          <p:nvGrpSpPr>
            <p:cNvPr id="9" name="Gruppieren 8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4426003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0" name="Rechteck 9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13" name="Textfeld 12"/>
            <p:cNvSpPr txBox="1"/>
            <p:nvPr/>
          </p:nvSpPr>
          <p:spPr>
            <a:xfrm>
              <a:off x="4608000" y="3831336"/>
              <a:ext cx="3127248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de-DE" altLang="zh-CN" sz="1200" dirty="0" smtClean="0"/>
            </a:p>
            <a:p>
              <a:r>
                <a:rPr lang="de-DE" altLang="zh-CN" sz="1200" dirty="0" smtClean="0"/>
                <a:t>RSS </a:t>
              </a:r>
              <a:r>
                <a:rPr lang="de-DE" altLang="zh-CN" sz="1200" dirty="0"/>
                <a:t>: Residual sums </a:t>
              </a:r>
              <a:r>
                <a:rPr lang="de-DE" altLang="zh-CN" sz="1200" dirty="0" err="1"/>
                <a:t>of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squares</a:t>
              </a:r>
              <a:endParaRPr lang="de-DE" altLang="zh-CN" sz="1200" dirty="0"/>
            </a:p>
            <a:p>
              <a:r>
                <a:rPr lang="de-DE" altLang="zh-CN" sz="1200" dirty="0"/>
                <a:t>n : Anzahl der Dateneinträge</a:t>
              </a:r>
            </a:p>
            <a:p>
              <a:r>
                <a:rPr lang="de-DE" altLang="zh-CN" sz="1200" dirty="0"/>
                <a:t>k : Anzahl der Verbindungen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514348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5" name="Rechteck 14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6" name="Rechteck 15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31" name="Textfeld 30"/>
            <p:cNvSpPr txBox="1"/>
            <p:nvPr/>
          </p:nvSpPr>
          <p:spPr>
            <a:xfrm>
              <a:off x="8460000" y="5242896"/>
              <a:ext cx="3081528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/>
                <a:t>  </a:t>
              </a:r>
              <a:r>
                <a:rPr lang="de-DE" altLang="zh-CN" sz="1400" dirty="0" err="1" smtClean="0"/>
                <a:t>SVR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2</a:t>
              </a:r>
              <a:r>
                <a:rPr lang="de-DE" altLang="zh-CN" sz="1400" dirty="0" smtClean="0"/>
                <a:t>) </a:t>
              </a:r>
              <a:r>
                <a:rPr lang="de-DE" altLang="zh-CN" sz="1400" dirty="0"/>
                <a:t>- 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3</a:t>
              </a:r>
              <a:r>
                <a:rPr lang="de-DE" altLang="zh-CN" sz="1400" dirty="0" smtClean="0"/>
                <a:t>)</a:t>
              </a:r>
              <a:endParaRPr lang="de-DE" altLang="zh-CN" sz="1400" dirty="0"/>
            </a:p>
            <a:p>
              <a:endParaRPr lang="de-DE" altLang="zh-CN" sz="1400" dirty="0"/>
            </a:p>
            <a:p>
              <a:r>
                <a:rPr lang="de-DE" altLang="zh-CN" sz="1400" dirty="0"/>
                <a:t> Für kleine C  und für große C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n: Anzahl der Dateneinträge</a:t>
              </a:r>
            </a:p>
            <a:p>
              <a:endParaRPr lang="zh-CN" altLang="de-DE" sz="1400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4608000" y="5242896"/>
              <a:ext cx="1987275" cy="1169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KNN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emnk</a:t>
              </a:r>
              <a:r>
                <a:rPr lang="de-DE" altLang="zh-CN" sz="1400" dirty="0" smtClean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e : Anzahl der Epochen</a:t>
              </a:r>
            </a:p>
            <a:p>
              <a:r>
                <a:rPr lang="de-DE" altLang="zh-CN" sz="1200" dirty="0"/>
                <a:t>k : Anzahl der Neuronen</a:t>
              </a:r>
            </a:p>
            <a:p>
              <a:r>
                <a:rPr lang="de-DE" altLang="zh-CN" sz="1200" dirty="0"/>
                <a:t>m : Anzahl der Parameter</a:t>
              </a:r>
            </a:p>
            <a:p>
              <a:r>
                <a:rPr lang="de-DE" altLang="zh-CN" sz="1200" dirty="0"/>
                <a:t>n  : Anzahl der Dateneinträge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720000" y="3442896"/>
              <a:ext cx="2596608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Nicht anwendbar, da keine klare </a:t>
              </a:r>
            </a:p>
            <a:p>
              <a:r>
                <a:rPr lang="de-DE" altLang="zh-CN" sz="1400" dirty="0"/>
                <a:t>Definition von </a:t>
              </a:r>
              <a:r>
                <a:rPr lang="de-DE" altLang="zh-CN" sz="1400" dirty="0" smtClean="0"/>
                <a:t>Parametern</a:t>
              </a:r>
            </a:p>
            <a:p>
              <a:endParaRPr lang="de-DE" altLang="zh-CN" sz="1400" dirty="0" smtClean="0"/>
            </a:p>
            <a:p>
              <a:r>
                <a:rPr lang="de-DE" altLang="zh-CN" sz="1200" dirty="0" smtClean="0"/>
                <a:t>Vorschlag:</a:t>
              </a:r>
            </a:p>
            <a:p>
              <a:r>
                <a:rPr lang="de-DE" altLang="zh-CN" sz="1200" dirty="0" smtClean="0"/>
                <a:t>k: Anzahl der Bäume, max. Tiefe</a:t>
              </a:r>
              <a:endParaRPr lang="zh-CN" altLang="de-DE" sz="1200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8460000" y="3442896"/>
              <a:ext cx="2601674" cy="12311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Unterschiedlich für verschiedene</a:t>
              </a:r>
            </a:p>
            <a:p>
              <a:r>
                <a:rPr lang="de-DE" altLang="zh-CN" sz="1400" dirty="0"/>
                <a:t>Kernel-Funktionen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Bsp. : Für den </a:t>
              </a:r>
              <a:r>
                <a:rPr lang="de-DE" altLang="zh-CN" sz="1200" dirty="0" err="1"/>
                <a:t>polynomial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Kernel</a:t>
              </a:r>
              <a:r>
                <a:rPr lang="de-DE" altLang="zh-CN" sz="1200" dirty="0"/>
                <a:t> wäre</a:t>
              </a:r>
            </a:p>
            <a:p>
              <a:r>
                <a:rPr lang="de-DE" altLang="zh-CN" sz="1200" dirty="0"/>
                <a:t>k : </a:t>
              </a:r>
              <a:r>
                <a:rPr lang="de-DE" altLang="zh-CN" sz="1200" dirty="0" smtClean="0"/>
                <a:t>Polynomischer Grad der Funktion</a:t>
              </a:r>
              <a:endParaRPr lang="de-DE" altLang="zh-CN" sz="1200" dirty="0"/>
            </a:p>
            <a:p>
              <a:endParaRPr lang="zh-CN" altLang="de-DE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AIC szenarioF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520" y="4103914"/>
            <a:ext cx="3449428" cy="2160000"/>
          </a:xfrm>
          <a:prstGeom prst="rect">
            <a:avLst/>
          </a:prstGeom>
        </p:spPr>
      </p:pic>
      <p:pic>
        <p:nvPicPr>
          <p:cNvPr id="30" name="Grafik 29" descr="BIC szenarioF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2606" y="4113371"/>
            <a:ext cx="3230201" cy="216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620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352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3" name="Gruppieren 15">
            <a:extLst>
              <a:ext uri="{FF2B5EF4-FFF2-40B4-BE49-F238E27FC236}">
                <a16:creationId xmlns=""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=""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=""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097024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6" name="Gruppieren 13"/>
          <p:cNvGrpSpPr/>
          <p:nvPr/>
        </p:nvGrpSpPr>
        <p:grpSpPr>
          <a:xfrm>
            <a:off x="4572000" y="792000"/>
            <a:ext cx="3054144" cy="1266227"/>
            <a:chOff x="3997187" y="1183059"/>
            <a:chExt cx="3054144" cy="1417320"/>
          </a:xfrm>
        </p:grpSpPr>
        <p:sp>
          <p:nvSpPr>
            <p:cNvPr id="15" name="Textfeld 14"/>
            <p:cNvSpPr txBox="1"/>
            <p:nvPr/>
          </p:nvSpPr>
          <p:spPr>
            <a:xfrm>
              <a:off x="4191001" y="1581911"/>
              <a:ext cx="2510046" cy="8617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L : Maximum-</a:t>
              </a:r>
              <a:r>
                <a:rPr lang="de-DE" altLang="zh-CN" sz="1400" dirty="0" err="1"/>
                <a:t>Likelihoodfunktion</a:t>
              </a:r>
              <a:endParaRPr lang="de-DE" altLang="zh-CN" sz="1400" dirty="0"/>
            </a:p>
            <a:p>
              <a:r>
                <a:rPr lang="de-DE" altLang="zh-CN" sz="1400" dirty="0"/>
                <a:t>k : Anzahl der Parameter</a:t>
              </a:r>
            </a:p>
            <a:p>
              <a:r>
                <a:rPr lang="de-DE" altLang="zh-CN" sz="1400" dirty="0"/>
                <a:t>n : Anzahl an Beobachtungen </a:t>
              </a:r>
            </a:p>
            <a:p>
              <a:endParaRPr lang="zh-CN" altLang="de-DE" sz="1400" dirty="0"/>
            </a:p>
          </p:txBody>
        </p:sp>
        <p:grpSp>
          <p:nvGrpSpPr>
            <p:cNvPr id="7" name="Gruppieren 18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54886" y="2196000"/>
            <a:ext cx="2733344" cy="6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84000" y="2196000"/>
            <a:ext cx="3285145" cy="5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7" name="Abgerundetes Rechteck 26"/>
          <p:cNvSpPr/>
          <p:nvPr/>
        </p:nvSpPr>
        <p:spPr>
          <a:xfrm>
            <a:off x="1440000" y="291600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Minimiert den Informationsverlust</a:t>
            </a:r>
            <a:endParaRPr lang="zh-CN" altLang="de-DE" dirty="0" err="1" smtClean="0"/>
          </a:p>
        </p:txBody>
      </p:sp>
      <p:sp>
        <p:nvSpPr>
          <p:cNvPr id="29" name="Abgerundetes Rechteck 28"/>
          <p:cNvSpPr/>
          <p:nvPr/>
        </p:nvSpPr>
        <p:spPr>
          <a:xfrm>
            <a:off x="8225829" y="291737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r Ausgleich zwischen Informationsverlust und Komplexität</a:t>
            </a:r>
            <a:endParaRPr lang="zh-CN" alt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4068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964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8" name="Gruppieren 33"/>
          <p:cNvGrpSpPr/>
          <p:nvPr/>
        </p:nvGrpSpPr>
        <p:grpSpPr>
          <a:xfrm>
            <a:off x="4415292" y="4528457"/>
            <a:ext cx="3455079" cy="774000"/>
            <a:chOff x="1109604" y="5625847"/>
            <a:chExt cx="4587753" cy="864432"/>
          </a:xfrm>
        </p:grpSpPr>
        <p:sp>
          <p:nvSpPr>
            <p:cNvPr id="35" name="AutoShape 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09604" y="5818744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1606772" y="5625848"/>
              <a:ext cx="1819399" cy="86318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Genauigkei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47"/>
              <a:ext cx="1800273" cy="8644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Komplexitä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39" name="Freeform 1086">
            <a:extLst>
              <a:ext uri="{FF2B5EF4-FFF2-40B4-BE49-F238E27FC236}">
                <a16:creationId xmlns=""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xmlns="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p:oleObj spid="_x0000_s35842" name="Equation" r:id="rId9" imgW="114120" imgH="177480" progId="Equation.DSMT4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0" grpId="1" animBg="1"/>
      <p:bldP spid="11" grpId="0" animBg="1"/>
      <p:bldP spid="11" grpId="1" animBg="1"/>
      <p:bldP spid="22" grpId="0" animBg="1"/>
      <p:bldP spid="23" grpId="0" animBg="1"/>
      <p:bldP spid="24" grpId="0" animBg="1"/>
      <p:bldP spid="25" grpId="0" animBg="1"/>
      <p:bldP spid="27" grpId="0" animBg="1"/>
      <p:bldP spid="29" grpId="0" animBg="1"/>
      <p:bldP spid="32" grpId="0" animBg="1"/>
      <p:bldP spid="33" grpId="0" animBg="1"/>
      <p:bldP spid="39" grpId="0" animBg="1"/>
      <p:bldP spid="4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sp>
        <p:nvSpPr>
          <p:cNvPr id="61" name="Nach oben gebogener Pfeil 13">
            <a:extLst>
              <a:ext uri="{FF2B5EF4-FFF2-40B4-BE49-F238E27FC236}">
                <a16:creationId xmlns="" xmlns:a16="http://schemas.microsoft.com/office/drawing/2014/main" id="{BDF76228-1A83-48C4-9B51-864C6A5B8C48}"/>
              </a:ext>
            </a:extLst>
          </p:cNvPr>
          <p:cNvSpPr/>
          <p:nvPr/>
        </p:nvSpPr>
        <p:spPr>
          <a:xfrm rot="5400000">
            <a:off x="776490" y="3232608"/>
            <a:ext cx="2389442" cy="1469381"/>
          </a:xfrm>
          <a:prstGeom prst="bentUpArrow">
            <a:avLst>
              <a:gd name="adj1" fmla="val 7573"/>
              <a:gd name="adj2" fmla="val 8365"/>
              <a:gd name="adj3" fmla="val 160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Textfeld 5">
            <a:extLst>
              <a:ext uri="{FF2B5EF4-FFF2-40B4-BE49-F238E27FC236}">
                <a16:creationId xmlns=""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911753" y="5794803"/>
            <a:ext cx="364522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  <a:r>
              <a:rPr lang="en-GB" sz="1100" i="1" dirty="0">
                <a:solidFill>
                  <a:schemeClr val="bg2"/>
                </a:solidFill>
              </a:rPr>
              <a:t>“Interims </a:t>
            </a:r>
            <a:r>
              <a:rPr lang="en-GB" sz="1100" i="1" dirty="0" err="1">
                <a:solidFill>
                  <a:schemeClr val="bg2"/>
                </a:solidFill>
              </a:rPr>
              <a:t>Dissertationsvortrag</a:t>
            </a:r>
            <a:r>
              <a:rPr lang="en-GB" sz="1100" i="1" dirty="0">
                <a:solidFill>
                  <a:schemeClr val="bg2"/>
                </a:solidFill>
              </a:rPr>
              <a:t>” (2021), Laura Maier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122" name="Gruppieren 121"/>
          <p:cNvGrpSpPr/>
          <p:nvPr/>
        </p:nvGrpSpPr>
        <p:grpSpPr>
          <a:xfrm>
            <a:off x="159090" y="1070727"/>
            <a:ext cx="2331992" cy="2006917"/>
            <a:chOff x="159090" y="1070727"/>
            <a:chExt cx="2331992" cy="2006917"/>
          </a:xfrm>
        </p:grpSpPr>
        <p:sp>
          <p:nvSpPr>
            <p:cNvPr id="58" name="Textfeld 57">
              <a:extLst>
                <a:ext uri="{FF2B5EF4-FFF2-40B4-BE49-F238E27FC236}">
                  <a16:creationId xmlns="" xmlns:a16="http://schemas.microsoft.com/office/drawing/2014/main" id="{72F585EF-B858-478E-9DBF-846D7EDAB25D}"/>
                </a:ext>
              </a:extLst>
            </p:cNvPr>
            <p:cNvSpPr txBox="1"/>
            <p:nvPr/>
          </p:nvSpPr>
          <p:spPr>
            <a:xfrm>
              <a:off x="763921" y="1070727"/>
              <a:ext cx="138339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Klassische MPC</a:t>
              </a:r>
            </a:p>
          </p:txBody>
        </p:sp>
        <p:sp>
          <p:nvSpPr>
            <p:cNvPr id="60" name="Flussdiagramm: Verbinder 46">
              <a:extLst>
                <a:ext uri="{FF2B5EF4-FFF2-40B4-BE49-F238E27FC236}">
                  <a16:creationId xmlns=""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4544" y="2456461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4" name="Gruppieren 54">
              <a:extLst>
                <a:ext uri="{FF2B5EF4-FFF2-40B4-BE49-F238E27FC236}">
                  <a16:creationId xmlns="" xmlns:a16="http://schemas.microsoft.com/office/drawing/2014/main" id="{F349CE45-6FC4-40F7-81C6-FF45B279DA19}"/>
                </a:ext>
              </a:extLst>
            </p:cNvPr>
            <p:cNvGrpSpPr/>
            <p:nvPr/>
          </p:nvGrpSpPr>
          <p:grpSpPr>
            <a:xfrm>
              <a:off x="159090" y="1354804"/>
              <a:ext cx="2331992" cy="1722840"/>
              <a:chOff x="7202852" y="1263524"/>
              <a:chExt cx="1980000" cy="1437225"/>
            </a:xfrm>
          </p:grpSpPr>
          <p:cxnSp>
            <p:nvCxnSpPr>
              <p:cNvPr id="91" name="Gerade Verbindung mit Pfeil 90">
                <a:extLst>
                  <a:ext uri="{FF2B5EF4-FFF2-40B4-BE49-F238E27FC236}">
                    <a16:creationId xmlns="" xmlns:a16="http://schemas.microsoft.com/office/drawing/2014/main" id="{1EA4D587-7D41-437B-9FBE-5C4ED1C59F6D}"/>
                  </a:ext>
                </a:extLst>
              </p:cNvPr>
              <p:cNvCxnSpPr/>
              <p:nvPr/>
            </p:nvCxnSpPr>
            <p:spPr>
              <a:xfrm flipV="1">
                <a:off x="7202852" y="2423942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92" name="Grafik 91">
                <a:extLst>
                  <a:ext uri="{FF2B5EF4-FFF2-40B4-BE49-F238E27FC236}">
                    <a16:creationId xmlns="" xmlns:a16="http://schemas.microsoft.com/office/drawing/2014/main" id="{C94B2460-C399-4D47-8F5E-251B31739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22449" y="2147644"/>
                <a:ext cx="558951" cy="536179"/>
              </a:xfrm>
              <a:prstGeom prst="rect">
                <a:avLst/>
              </a:prstGeom>
            </p:spPr>
          </p:pic>
          <p:pic>
            <p:nvPicPr>
              <p:cNvPr id="93" name="Grafik 92">
                <a:extLst>
                  <a:ext uri="{FF2B5EF4-FFF2-40B4-BE49-F238E27FC236}">
                    <a16:creationId xmlns="" xmlns:a16="http://schemas.microsoft.com/office/drawing/2014/main" id="{C8B2DD34-B360-466D-B039-69B78BF096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21410" y="2140341"/>
                <a:ext cx="574176" cy="550783"/>
              </a:xfrm>
              <a:prstGeom prst="rect">
                <a:avLst/>
              </a:prstGeom>
            </p:spPr>
          </p:pic>
          <p:cxnSp>
            <p:nvCxnSpPr>
              <p:cNvPr id="94" name="Gewinkelter Verbinder 38">
                <a:extLst>
                  <a:ext uri="{FF2B5EF4-FFF2-40B4-BE49-F238E27FC236}">
                    <a16:creationId xmlns="" xmlns:a16="http://schemas.microsoft.com/office/drawing/2014/main" id="{19A90DCC-84FD-4F53-BF0B-D8DC028D4254}"/>
                  </a:ext>
                </a:extLst>
              </p:cNvPr>
              <p:cNvCxnSpPr/>
              <p:nvPr/>
            </p:nvCxnSpPr>
            <p:spPr>
              <a:xfrm rot="10800000" flipV="1">
                <a:off x="7708499" y="2425357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9" name="Textfeld 8">
                    <a:extLst>
                      <a:ext uri="{FF2B5EF4-FFF2-40B4-BE49-F238E27FC236}">
                        <a16:creationId xmlns:a16="http://schemas.microsoft.com/office/drawing/2014/main" id="{806B0A2B-787D-42FB-8E55-6D5FC999DA7B}"/>
                      </a:ext>
                    </a:extLst>
                  </p:cNvPr>
                  <p:cNvSpPr txBox="1"/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95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13333" r="-10000" b="-465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96" name="Gruppieren 9">
                <a:extLst>
                  <a:ext uri="{FF2B5EF4-FFF2-40B4-BE49-F238E27FC236}">
                    <a16:creationId xmlns="" xmlns:a16="http://schemas.microsoft.com/office/drawing/2014/main" id="{2DD66A91-B2EE-4DE1-99B7-B793D170673F}"/>
                  </a:ext>
                </a:extLst>
              </p:cNvPr>
              <p:cNvGrpSpPr/>
              <p:nvPr/>
            </p:nvGrpSpPr>
            <p:grpSpPr>
              <a:xfrm>
                <a:off x="7271641" y="1265535"/>
                <a:ext cx="863081" cy="426176"/>
                <a:chOff x="572044" y="1419869"/>
                <a:chExt cx="863081" cy="426176"/>
              </a:xfrm>
            </p:grpSpPr>
            <p:pic>
              <p:nvPicPr>
                <p:cNvPr id="107" name="Grafik 106">
                  <a:extLst>
                    <a:ext uri="{FF2B5EF4-FFF2-40B4-BE49-F238E27FC236}">
                      <a16:creationId xmlns="" xmlns:a16="http://schemas.microsoft.com/office/drawing/2014/main" id="{8BC3206E-10A3-40B2-A144-832F301C2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108" name="Grafik 107">
                  <a:extLst>
                    <a:ext uri="{FF2B5EF4-FFF2-40B4-BE49-F238E27FC236}">
                      <a16:creationId xmlns="" xmlns:a16="http://schemas.microsoft.com/office/drawing/2014/main" id="{5D089EF3-743C-4682-B256-66E23CC434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109" name="Rechteck 108">
                  <a:extLst>
                    <a:ext uri="{FF2B5EF4-FFF2-40B4-BE49-F238E27FC236}">
                      <a16:creationId xmlns="" xmlns:a16="http://schemas.microsoft.com/office/drawing/2014/main" id="{1335EE88-A3AC-4BEE-9D43-6C6B91273C04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97" name="Gewinkelter Verbinder 46">
                <a:extLst>
                  <a:ext uri="{FF2B5EF4-FFF2-40B4-BE49-F238E27FC236}">
                    <a16:creationId xmlns="" xmlns:a16="http://schemas.microsoft.com/office/drawing/2014/main" id="{6C8F7A51-2ED2-4A93-843A-95846DE80713}"/>
                  </a:ext>
                </a:extLst>
              </p:cNvPr>
              <p:cNvCxnSpPr>
                <a:stCxn id="109" idx="2"/>
                <a:endCxn id="93" idx="0"/>
              </p:cNvCxnSpPr>
              <p:nvPr/>
            </p:nvCxnSpPr>
            <p:spPr>
              <a:xfrm rot="16200000" flipH="1">
                <a:off x="7481525" y="1913368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winkelter Verbinder 47">
                <a:extLst>
                  <a:ext uri="{FF2B5EF4-FFF2-40B4-BE49-F238E27FC236}">
                    <a16:creationId xmlns="" xmlns:a16="http://schemas.microsoft.com/office/drawing/2014/main" id="{3A2E0259-8645-4FEE-B394-62F847D6614D}"/>
                  </a:ext>
                </a:extLst>
              </p:cNvPr>
              <p:cNvCxnSpPr>
                <a:stCxn id="109" idx="2"/>
                <a:endCxn id="92" idx="0"/>
              </p:cNvCxnSpPr>
              <p:nvPr/>
            </p:nvCxnSpPr>
            <p:spPr>
              <a:xfrm rot="16200000" flipH="1">
                <a:off x="7924587" y="1470305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3" name="Textfeld 12">
                    <a:extLst>
                      <a:ext uri="{FF2B5EF4-FFF2-40B4-BE49-F238E27FC236}">
                        <a16:creationId xmlns:a16="http://schemas.microsoft.com/office/drawing/2014/main" id="{0F7D5105-3345-4852-BB5F-BF4F20EBFA9A}"/>
                      </a:ext>
                    </a:extLst>
                  </p:cNvPr>
                  <p:cNvSpPr txBox="1"/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99" name="Textfeld 9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16129" r="-6452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00" name="Gruppieren 13">
                <a:extLst>
                  <a:ext uri="{FF2B5EF4-FFF2-40B4-BE49-F238E27FC236}">
                    <a16:creationId xmlns="" xmlns:a16="http://schemas.microsoft.com/office/drawing/2014/main" id="{DB4E289D-C900-4CA0-B30E-857F229CDE03}"/>
                  </a:ext>
                </a:extLst>
              </p:cNvPr>
              <p:cNvGrpSpPr/>
              <p:nvPr/>
            </p:nvGrpSpPr>
            <p:grpSpPr>
              <a:xfrm>
                <a:off x="8227929" y="1263524"/>
                <a:ext cx="863081" cy="426176"/>
                <a:chOff x="572044" y="1419869"/>
                <a:chExt cx="863081" cy="426176"/>
              </a:xfrm>
            </p:grpSpPr>
            <p:pic>
              <p:nvPicPr>
                <p:cNvPr id="104" name="Grafik 103">
                  <a:extLst>
                    <a:ext uri="{FF2B5EF4-FFF2-40B4-BE49-F238E27FC236}">
                      <a16:creationId xmlns="" xmlns:a16="http://schemas.microsoft.com/office/drawing/2014/main" id="{989038F9-C159-42EE-B9C3-FA0A86E63A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105" name="Grafik 104">
                  <a:extLst>
                    <a:ext uri="{FF2B5EF4-FFF2-40B4-BE49-F238E27FC236}">
                      <a16:creationId xmlns="" xmlns:a16="http://schemas.microsoft.com/office/drawing/2014/main" id="{A0227ADA-F42E-4CBF-92AA-CAC00C647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106" name="Rechteck 105">
                  <a:extLst>
                    <a:ext uri="{FF2B5EF4-FFF2-40B4-BE49-F238E27FC236}">
                      <a16:creationId xmlns="" xmlns:a16="http://schemas.microsoft.com/office/drawing/2014/main" id="{25AE2026-81D0-4FCA-ACAC-E0BEAE01F7AB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101" name="Gewinkelter Verbinder 56">
                <a:extLst>
                  <a:ext uri="{FF2B5EF4-FFF2-40B4-BE49-F238E27FC236}">
                    <a16:creationId xmlns="" xmlns:a16="http://schemas.microsoft.com/office/drawing/2014/main" id="{7E3F5B7D-652C-4700-8EBC-A84F531C7375}"/>
                  </a:ext>
                </a:extLst>
              </p:cNvPr>
              <p:cNvCxnSpPr>
                <a:stCxn id="106" idx="2"/>
                <a:endCxn id="93" idx="0"/>
              </p:cNvCxnSpPr>
              <p:nvPr/>
            </p:nvCxnSpPr>
            <p:spPr>
              <a:xfrm rot="5400000">
                <a:off x="7958664" y="1439534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6" name="Textfeld 15">
                    <a:extLst>
                      <a:ext uri="{FF2B5EF4-FFF2-40B4-BE49-F238E27FC236}">
                        <a16:creationId xmlns:a16="http://schemas.microsoft.com/office/drawing/2014/main" id="{45CD0701-1FD5-463C-B5D8-A5A8AD7F8AE1}"/>
                      </a:ext>
                    </a:extLst>
                  </p:cNvPr>
                  <p:cNvSpPr txBox="1"/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02" name="Textfeld 10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12903" t="-11111" r="-70968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7" name="Textfeld 16">
                    <a:extLst>
                      <a:ext uri="{FF2B5EF4-FFF2-40B4-BE49-F238E27FC236}">
                        <a16:creationId xmlns:a16="http://schemas.microsoft.com/office/drawing/2014/main" id="{0CA6CB45-3790-4E17-BD88-F6A21C4CF95E}"/>
                      </a:ext>
                    </a:extLst>
                  </p:cNvPr>
                  <p:cNvSpPr txBox="1"/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03" name="Textfeld 10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3333" r="-333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65" name="Flussdiagramm: Verbinder 46">
              <a:extLst>
                <a:ext uri="{FF2B5EF4-FFF2-40B4-BE49-F238E27FC236}">
                  <a16:creationId xmlns=""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7156" y="2457767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23" name="Gruppieren 122"/>
          <p:cNvGrpSpPr/>
          <p:nvPr/>
        </p:nvGrpSpPr>
        <p:grpSpPr>
          <a:xfrm>
            <a:off x="2696418" y="3333602"/>
            <a:ext cx="2439031" cy="2041416"/>
            <a:chOff x="2696418" y="3333602"/>
            <a:chExt cx="2439031" cy="2041416"/>
          </a:xfrm>
        </p:grpSpPr>
        <p:sp>
          <p:nvSpPr>
            <p:cNvPr id="59" name="Textfeld 58">
              <a:extLst>
                <a:ext uri="{FF2B5EF4-FFF2-40B4-BE49-F238E27FC236}">
                  <a16:creationId xmlns="" xmlns:a16="http://schemas.microsoft.com/office/drawing/2014/main" id="{5CBC82BF-9CE7-409E-80A6-70B2F3753EB0}"/>
                </a:ext>
              </a:extLst>
            </p:cNvPr>
            <p:cNvSpPr txBox="1"/>
            <p:nvPr/>
          </p:nvSpPr>
          <p:spPr>
            <a:xfrm>
              <a:off x="3090529" y="3333602"/>
              <a:ext cx="16639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Approximierte MPC</a:t>
              </a:r>
            </a:p>
          </p:txBody>
        </p:sp>
        <p:grpSp>
          <p:nvGrpSpPr>
            <p:cNvPr id="66" name="Gruppieren 77">
              <a:extLst>
                <a:ext uri="{FF2B5EF4-FFF2-40B4-BE49-F238E27FC236}">
                  <a16:creationId xmlns="" xmlns:a16="http://schemas.microsoft.com/office/drawing/2014/main" id="{375C1478-3CB3-450E-BED9-D95AFE02F858}"/>
                </a:ext>
              </a:extLst>
            </p:cNvPr>
            <p:cNvGrpSpPr/>
            <p:nvPr/>
          </p:nvGrpSpPr>
          <p:grpSpPr>
            <a:xfrm>
              <a:off x="2696418" y="3654558"/>
              <a:ext cx="2439031" cy="1720460"/>
              <a:chOff x="9519467" y="3357655"/>
              <a:chExt cx="1980000" cy="1445843"/>
            </a:xfrm>
          </p:grpSpPr>
          <p:cxnSp>
            <p:nvCxnSpPr>
              <p:cNvPr id="71" name="Gerade Verbindung mit Pfeil 70">
                <a:extLst>
                  <a:ext uri="{FF2B5EF4-FFF2-40B4-BE49-F238E27FC236}">
                    <a16:creationId xmlns="" xmlns:a16="http://schemas.microsoft.com/office/drawing/2014/main" id="{2DEABDA3-1D3A-4407-9EEB-FE50F87DB2E5}"/>
                  </a:ext>
                </a:extLst>
              </p:cNvPr>
              <p:cNvCxnSpPr/>
              <p:nvPr/>
            </p:nvCxnSpPr>
            <p:spPr>
              <a:xfrm flipV="1">
                <a:off x="9519467" y="4518073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2" name="Grafik 71">
                <a:extLst>
                  <a:ext uri="{FF2B5EF4-FFF2-40B4-BE49-F238E27FC236}">
                    <a16:creationId xmlns="" xmlns:a16="http://schemas.microsoft.com/office/drawing/2014/main" id="{01E723E4-5BB8-487D-9425-3957E9E8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39064" y="4241775"/>
                <a:ext cx="558951" cy="536179"/>
              </a:xfrm>
              <a:prstGeom prst="rect">
                <a:avLst/>
              </a:prstGeom>
            </p:spPr>
          </p:pic>
          <p:cxnSp>
            <p:nvCxnSpPr>
              <p:cNvPr id="73" name="Gewinkelter Verbinder 64">
                <a:extLst>
                  <a:ext uri="{FF2B5EF4-FFF2-40B4-BE49-F238E27FC236}">
                    <a16:creationId xmlns="" xmlns:a16="http://schemas.microsoft.com/office/drawing/2014/main" id="{A2A595AF-519A-44DC-9A41-2ADF7E126E17}"/>
                  </a:ext>
                </a:extLst>
              </p:cNvPr>
              <p:cNvCxnSpPr/>
              <p:nvPr/>
            </p:nvCxnSpPr>
            <p:spPr>
              <a:xfrm rot="10800000" flipV="1">
                <a:off x="10025114" y="4519488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28" name="Textfeld 27">
                    <a:extLst>
                      <a:ext uri="{FF2B5EF4-FFF2-40B4-BE49-F238E27FC236}">
                        <a16:creationId xmlns:a16="http://schemas.microsoft.com/office/drawing/2014/main" id="{5D2B2DA1-1678-48E5-A983-536EF2633CE5}"/>
                      </a:ext>
                    </a:extLst>
                  </p:cNvPr>
                  <p:cNvSpPr txBox="1"/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74" name="Textfeld 7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9677" r="-9677" b="-714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75" name="Gruppieren 28">
                <a:extLst>
                  <a:ext uri="{FF2B5EF4-FFF2-40B4-BE49-F238E27FC236}">
                    <a16:creationId xmlns="" xmlns:a16="http://schemas.microsoft.com/office/drawing/2014/main" id="{8EA72DFE-DF05-42A3-85D3-9C0E3CF0FFE0}"/>
                  </a:ext>
                </a:extLst>
              </p:cNvPr>
              <p:cNvGrpSpPr/>
              <p:nvPr/>
            </p:nvGrpSpPr>
            <p:grpSpPr>
              <a:xfrm>
                <a:off x="9588256" y="3359666"/>
                <a:ext cx="863081" cy="426176"/>
                <a:chOff x="572044" y="1419869"/>
                <a:chExt cx="863081" cy="426176"/>
              </a:xfrm>
            </p:grpSpPr>
            <p:pic>
              <p:nvPicPr>
                <p:cNvPr id="88" name="Grafik 87">
                  <a:extLst>
                    <a:ext uri="{FF2B5EF4-FFF2-40B4-BE49-F238E27FC236}">
                      <a16:creationId xmlns="" xmlns:a16="http://schemas.microsoft.com/office/drawing/2014/main" id="{C8876757-BD2E-4E73-8F2F-62BD965B2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89" name="Grafik 88">
                  <a:extLst>
                    <a:ext uri="{FF2B5EF4-FFF2-40B4-BE49-F238E27FC236}">
                      <a16:creationId xmlns="" xmlns:a16="http://schemas.microsoft.com/office/drawing/2014/main" id="{8B134B65-0AF1-485F-9772-5A0599440B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90" name="Rechteck 89">
                  <a:extLst>
                    <a:ext uri="{FF2B5EF4-FFF2-40B4-BE49-F238E27FC236}">
                      <a16:creationId xmlns="" xmlns:a16="http://schemas.microsoft.com/office/drawing/2014/main" id="{F675F7FF-BDF3-43E4-9EF3-2907C52665D6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76" name="Gewinkelter Verbinder 70">
                <a:extLst>
                  <a:ext uri="{FF2B5EF4-FFF2-40B4-BE49-F238E27FC236}">
                    <a16:creationId xmlns="" xmlns:a16="http://schemas.microsoft.com/office/drawing/2014/main" id="{6760EF42-3815-4824-8CDE-53AD1B8923BE}"/>
                  </a:ext>
                </a:extLst>
              </p:cNvPr>
              <p:cNvCxnSpPr>
                <a:stCxn id="90" idx="2"/>
              </p:cNvCxnSpPr>
              <p:nvPr/>
            </p:nvCxnSpPr>
            <p:spPr>
              <a:xfrm rot="16200000" flipH="1">
                <a:off x="9798140" y="4007499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winkelter Verbinder 71">
                <a:extLst>
                  <a:ext uri="{FF2B5EF4-FFF2-40B4-BE49-F238E27FC236}">
                    <a16:creationId xmlns="" xmlns:a16="http://schemas.microsoft.com/office/drawing/2014/main" id="{AA410913-B801-497D-849F-D4AFB3B43815}"/>
                  </a:ext>
                </a:extLst>
              </p:cNvPr>
              <p:cNvCxnSpPr>
                <a:stCxn id="90" idx="2"/>
                <a:endCxn id="72" idx="0"/>
              </p:cNvCxnSpPr>
              <p:nvPr/>
            </p:nvCxnSpPr>
            <p:spPr>
              <a:xfrm rot="16200000" flipH="1">
                <a:off x="10241202" y="3564436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2" name="Textfeld 31">
                    <a:extLst>
                      <a:ext uri="{FF2B5EF4-FFF2-40B4-BE49-F238E27FC236}">
                        <a16:creationId xmlns:a16="http://schemas.microsoft.com/office/drawing/2014/main" id="{43F41C59-1F2E-42AE-979A-7D31F19C2392}"/>
                      </a:ext>
                    </a:extLst>
                  </p:cNvPr>
                  <p:cNvSpPr txBox="1"/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78" name="Textfeld 7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9091" r="-606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79" name="Gruppieren 32">
                <a:extLst>
                  <a:ext uri="{FF2B5EF4-FFF2-40B4-BE49-F238E27FC236}">
                    <a16:creationId xmlns="" xmlns:a16="http://schemas.microsoft.com/office/drawing/2014/main" id="{5AA65793-EDA1-4CE2-AF3C-656452FBAC4C}"/>
                  </a:ext>
                </a:extLst>
              </p:cNvPr>
              <p:cNvGrpSpPr/>
              <p:nvPr/>
            </p:nvGrpSpPr>
            <p:grpSpPr>
              <a:xfrm>
                <a:off x="10544544" y="3357655"/>
                <a:ext cx="863081" cy="426176"/>
                <a:chOff x="572044" y="1419869"/>
                <a:chExt cx="863081" cy="426176"/>
              </a:xfrm>
            </p:grpSpPr>
            <p:pic>
              <p:nvPicPr>
                <p:cNvPr id="85" name="Grafik 84">
                  <a:extLst>
                    <a:ext uri="{FF2B5EF4-FFF2-40B4-BE49-F238E27FC236}">
                      <a16:creationId xmlns="" xmlns:a16="http://schemas.microsoft.com/office/drawing/2014/main" id="{6F371169-558D-476A-BA00-5DAEA5AB6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86" name="Grafik 85">
                  <a:extLst>
                    <a:ext uri="{FF2B5EF4-FFF2-40B4-BE49-F238E27FC236}">
                      <a16:creationId xmlns="" xmlns:a16="http://schemas.microsoft.com/office/drawing/2014/main" id="{A05A8ED2-080A-4464-B7C5-30521E9C7C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87" name="Rechteck 86">
                  <a:extLst>
                    <a:ext uri="{FF2B5EF4-FFF2-40B4-BE49-F238E27FC236}">
                      <a16:creationId xmlns="" xmlns:a16="http://schemas.microsoft.com/office/drawing/2014/main" id="{1E9198ED-DEF1-4EE0-9F6B-14D479095757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80" name="Gewinkelter Verbinder 77">
                <a:extLst>
                  <a:ext uri="{FF2B5EF4-FFF2-40B4-BE49-F238E27FC236}">
                    <a16:creationId xmlns="" xmlns:a16="http://schemas.microsoft.com/office/drawing/2014/main" id="{4CE577CD-9043-4C20-AC47-E893DE086012}"/>
                  </a:ext>
                </a:extLst>
              </p:cNvPr>
              <p:cNvCxnSpPr>
                <a:stCxn id="87" idx="2"/>
              </p:cNvCxnSpPr>
              <p:nvPr/>
            </p:nvCxnSpPr>
            <p:spPr>
              <a:xfrm rot="5400000">
                <a:off x="10275279" y="3533665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59565E5D-BCD9-44AC-8E66-6C7293F61266}"/>
                      </a:ext>
                    </a:extLst>
                  </p:cNvPr>
                  <p:cNvSpPr txBox="1"/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81" name="Textfeld 8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l="-12500" t="-13636" r="-6875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25567ADA-8635-4873-BD4B-64E93955F65A}"/>
                      </a:ext>
                    </a:extLst>
                  </p:cNvPr>
                  <p:cNvSpPr txBox="1"/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82" name="Textfeld 8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pic>
            <p:nvPicPr>
              <p:cNvPr id="83" name="Grafik 82">
                <a:extLst>
                  <a:ext uri="{FF2B5EF4-FFF2-40B4-BE49-F238E27FC236}">
                    <a16:creationId xmlns="" xmlns:a16="http://schemas.microsoft.com/office/drawing/2014/main" id="{4925E363-7264-416F-AECF-6C432CBC6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16015" y="4247271"/>
                <a:ext cx="579850" cy="556227"/>
              </a:xfrm>
              <a:prstGeom prst="rect">
                <a:avLst/>
              </a:prstGeom>
            </p:spPr>
          </p:pic>
          <p:pic>
            <p:nvPicPr>
              <p:cNvPr id="84" name="Grafik 83">
                <a:extLst>
                  <a:ext uri="{FF2B5EF4-FFF2-40B4-BE49-F238E27FC236}">
                    <a16:creationId xmlns="" xmlns:a16="http://schemas.microsoft.com/office/drawing/2014/main" id="{02AE8D96-98B5-46A4-8C2C-1E60B3E03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58457" y="4212626"/>
                <a:ext cx="227466" cy="218199"/>
              </a:xfrm>
              <a:prstGeom prst="rect">
                <a:avLst/>
              </a:prstGeom>
            </p:spPr>
          </p:pic>
        </p:grpSp>
      </p:grpSp>
      <p:grpSp>
        <p:nvGrpSpPr>
          <p:cNvPr id="126" name="Gruppieren 125"/>
          <p:cNvGrpSpPr/>
          <p:nvPr/>
        </p:nvGrpSpPr>
        <p:grpSpPr>
          <a:xfrm>
            <a:off x="2819400" y="1338941"/>
            <a:ext cx="1970315" cy="1262743"/>
            <a:chOff x="2819400" y="1338941"/>
            <a:chExt cx="1970315" cy="1262743"/>
          </a:xfrm>
        </p:grpSpPr>
        <p:sp>
          <p:nvSpPr>
            <p:cNvPr id="63" name="Rechteck 62"/>
            <p:cNvSpPr/>
            <p:nvPr/>
          </p:nvSpPr>
          <p:spPr>
            <a:xfrm>
              <a:off x="2819400" y="1338941"/>
              <a:ext cx="1970315" cy="1262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ell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Messwert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ör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Prädiktion</a:t>
              </a:r>
              <a:endParaRPr lang="zh-CN" altLang="de-DE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67" name="Grafik 66" descr="u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207872" y="1502227"/>
              <a:ext cx="188472" cy="188472"/>
            </a:xfrm>
            <a:prstGeom prst="rect">
              <a:avLst/>
            </a:prstGeom>
          </p:spPr>
        </p:pic>
        <p:pic>
          <p:nvPicPr>
            <p:cNvPr id="68" name="Grafik 67" descr="y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29642" y="1756033"/>
              <a:ext cx="177588" cy="214975"/>
            </a:xfrm>
            <a:prstGeom prst="rect">
              <a:avLst/>
            </a:prstGeom>
          </p:spPr>
        </p:pic>
        <p:pic>
          <p:nvPicPr>
            <p:cNvPr id="69" name="Grafik 68" descr="d.PN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12633" y="2024743"/>
              <a:ext cx="192614" cy="235417"/>
            </a:xfrm>
            <a:prstGeom prst="rect">
              <a:avLst/>
            </a:prstGeom>
          </p:spPr>
        </p:pic>
        <p:pic>
          <p:nvPicPr>
            <p:cNvPr id="70" name="Grafik 69" descr="^d.PNG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4000" y="2304000"/>
              <a:ext cx="173503" cy="224532"/>
            </a:xfrm>
            <a:prstGeom prst="rect">
              <a:avLst/>
            </a:prstGeom>
          </p:spPr>
        </p:pic>
      </p:grpSp>
      <p:grpSp>
        <p:nvGrpSpPr>
          <p:cNvPr id="125" name="Gruppieren 124"/>
          <p:cNvGrpSpPr/>
          <p:nvPr/>
        </p:nvGrpSpPr>
        <p:grpSpPr>
          <a:xfrm>
            <a:off x="7315200" y="947058"/>
            <a:ext cx="3015342" cy="1088572"/>
            <a:chOff x="7315200" y="947058"/>
            <a:chExt cx="3015342" cy="1088572"/>
          </a:xfrm>
        </p:grpSpPr>
        <p:sp>
          <p:nvSpPr>
            <p:cNvPr id="110" name="Abgerundetes Rechteck 109"/>
            <p:cNvSpPr/>
            <p:nvPr/>
          </p:nvSpPr>
          <p:spPr>
            <a:xfrm>
              <a:off x="7315200" y="947058"/>
              <a:ext cx="3015342" cy="1088572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         </a:t>
              </a:r>
              <a:r>
                <a:rPr lang="de-DE" altLang="zh-CN" dirty="0" err="1" smtClean="0"/>
                <a:t>Machine</a:t>
              </a:r>
              <a:r>
                <a:rPr lang="de-DE" altLang="zh-CN" dirty="0" smtClean="0"/>
                <a:t> 	Learning</a:t>
              </a:r>
            </a:p>
            <a:p>
              <a:pPr algn="ctr"/>
              <a:r>
                <a:rPr lang="de-DE" altLang="zh-CN" dirty="0" smtClean="0"/>
                <a:t>	ANN, RF, SVR</a:t>
              </a:r>
              <a:endParaRPr lang="zh-CN" altLang="de-DE" dirty="0" err="1" smtClean="0"/>
            </a:p>
          </p:txBody>
        </p:sp>
        <p:pic>
          <p:nvPicPr>
            <p:cNvPr id="56" name="Grafik 55">
              <a:extLst>
                <a:ext uri="{FF2B5EF4-FFF2-40B4-BE49-F238E27FC236}">
                  <a16:creationId xmlns="" xmlns:a16="http://schemas.microsoft.com/office/drawing/2014/main" id="{4925E363-7264-416F-AECF-6C432CBC6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0532" y="1175286"/>
              <a:ext cx="714279" cy="661874"/>
            </a:xfrm>
            <a:prstGeom prst="rect">
              <a:avLst/>
            </a:prstGeom>
          </p:spPr>
        </p:pic>
      </p:grpSp>
      <p:sp>
        <p:nvSpPr>
          <p:cNvPr id="111" name="Abgerundetes Rechteck 110"/>
          <p:cNvSpPr/>
          <p:nvPr/>
        </p:nvSpPr>
        <p:spPr>
          <a:xfrm>
            <a:off x="6048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Niedriger Rechenaufwand</a:t>
            </a:r>
            <a:endParaRPr lang="zh-CN" altLang="de-DE" dirty="0" err="1" smtClean="0"/>
          </a:p>
        </p:txBody>
      </p:sp>
      <p:sp>
        <p:nvSpPr>
          <p:cNvPr id="112" name="Abgerundetes Rechteck 111"/>
          <p:cNvSpPr/>
          <p:nvPr/>
        </p:nvSpPr>
        <p:spPr>
          <a:xfrm>
            <a:off x="8064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Niedrige</a:t>
            </a:r>
          </a:p>
          <a:p>
            <a:pPr algn="ctr"/>
            <a:r>
              <a:rPr lang="de-DE" altLang="zh-CN" dirty="0" smtClean="0"/>
              <a:t>Komplexität</a:t>
            </a:r>
            <a:endParaRPr lang="zh-CN" altLang="de-DE" dirty="0" err="1" smtClean="0"/>
          </a:p>
        </p:txBody>
      </p:sp>
      <p:sp>
        <p:nvSpPr>
          <p:cNvPr id="114" name="Abgerundetes Rechteck 113"/>
          <p:cNvSpPr/>
          <p:nvPr/>
        </p:nvSpPr>
        <p:spPr>
          <a:xfrm>
            <a:off x="10080000" y="4248000"/>
            <a:ext cx="1944000" cy="792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Möglichst hohe Genauigkeit</a:t>
            </a:r>
            <a:endParaRPr lang="zh-CN" altLang="de-DE" dirty="0" err="1" smtClean="0"/>
          </a:p>
        </p:txBody>
      </p:sp>
      <p:sp>
        <p:nvSpPr>
          <p:cNvPr id="116" name="Ellipse 115"/>
          <p:cNvSpPr/>
          <p:nvPr/>
        </p:nvSpPr>
        <p:spPr>
          <a:xfrm>
            <a:off x="9470572" y="2188029"/>
            <a:ext cx="2013857" cy="186145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Welche Zielgröße eignen sich?</a:t>
            </a:r>
            <a:endParaRPr lang="zh-CN" altLang="de-DE" dirty="0" err="1" smtClean="0"/>
          </a:p>
        </p:txBody>
      </p:sp>
      <p:grpSp>
        <p:nvGrpSpPr>
          <p:cNvPr id="120" name="Gruppieren 119"/>
          <p:cNvGrpSpPr/>
          <p:nvPr/>
        </p:nvGrpSpPr>
        <p:grpSpPr>
          <a:xfrm>
            <a:off x="6897234" y="5410199"/>
            <a:ext cx="3270022" cy="794659"/>
            <a:chOff x="6200549" y="5421085"/>
            <a:chExt cx="3270022" cy="794659"/>
          </a:xfrm>
        </p:grpSpPr>
        <p:sp>
          <p:nvSpPr>
            <p:cNvPr id="117" name="Abgerundetes Rechteck 116"/>
            <p:cNvSpPr/>
            <p:nvPr/>
          </p:nvSpPr>
          <p:spPr>
            <a:xfrm>
              <a:off x="6977742" y="5421085"/>
              <a:ext cx="2492829" cy="794659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Echtzeitfähig</a:t>
              </a:r>
              <a:endParaRPr lang="zh-CN" altLang="de-DE" dirty="0" err="1" smtClean="0"/>
            </a:p>
          </p:txBody>
        </p:sp>
        <p:sp>
          <p:nvSpPr>
            <p:cNvPr id="11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00549" y="5566542"/>
              <a:ext cx="624794" cy="529458"/>
            </a:xfrm>
            <a:prstGeom prst="homePlate">
              <a:avLst>
                <a:gd name="adj" fmla="val 118006"/>
              </a:avLst>
            </a:prstGeom>
            <a:solidFill>
              <a:schemeClr val="accent1">
                <a:lumMod val="100000"/>
              </a:schemeClr>
            </a:solidFill>
            <a:ln w="12700">
              <a:solidFill>
                <a:schemeClr val="tx1"/>
              </a:solidFill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6161314" y="2242457"/>
            <a:ext cx="3026229" cy="1719943"/>
            <a:chOff x="6161314" y="2242457"/>
            <a:chExt cx="3026229" cy="1719943"/>
          </a:xfrm>
        </p:grpSpPr>
        <p:sp>
          <p:nvSpPr>
            <p:cNvPr id="115" name="Pfeil nach unten 114"/>
            <p:cNvSpPr/>
            <p:nvPr/>
          </p:nvSpPr>
          <p:spPr>
            <a:xfrm>
              <a:off x="8186057" y="2242457"/>
              <a:ext cx="1001486" cy="1719943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  <p:sp>
          <p:nvSpPr>
            <p:cNvPr id="121" name="Rechteck 120"/>
            <p:cNvSpPr/>
            <p:nvPr/>
          </p:nvSpPr>
          <p:spPr>
            <a:xfrm>
              <a:off x="6161314" y="2656114"/>
              <a:ext cx="1926772" cy="69668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Trainingsprozess</a:t>
              </a:r>
              <a:endParaRPr lang="zh-CN" altLang="de-DE" dirty="0" err="1" smtClean="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/>
      <p:bldP spid="111" grpId="0" animBg="1"/>
      <p:bldP spid="112" grpId="0" animBg="1"/>
      <p:bldP spid="114" grpId="0" animBg="1"/>
      <p:bldP spid="11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</a:t>
            </a:r>
            <a:r>
              <a:rPr lang="de-DE" altLang="zh-CN" dirty="0" smtClean="0"/>
              <a:t>Technik - Komplexität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2721168" y="877824"/>
            <a:ext cx="6120000" cy="61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O-Notation</a:t>
            </a:r>
            <a:endParaRPr lang="zh-CN" altLang="de-DE" dirty="0"/>
          </a:p>
        </p:txBody>
      </p:sp>
      <p:pic>
        <p:nvPicPr>
          <p:cNvPr id="5" name="Grafik 4" descr="O-Notation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1655" y="1925423"/>
            <a:ext cx="4416049" cy="3814158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=""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861624" y="2002536"/>
            <a:ext cx="5530032" cy="3300984"/>
            <a:chOff x="382588" y="1007412"/>
            <a:chExt cx="11474450" cy="2325723"/>
          </a:xfrm>
        </p:grpSpPr>
        <p:sp>
          <p:nvSpPr>
            <p:cNvPr id="7" name="Rechteck 6">
              <a:extLst>
                <a:ext uri="{FF2B5EF4-FFF2-40B4-BE49-F238E27FC236}">
                  <a16:creationId xmlns=""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=""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1007412"/>
              <a:ext cx="2764293" cy="3357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solidFill>
                    <a:schemeClr val="tx1"/>
                  </a:solidFill>
                </a:rPr>
                <a:t>Ziel: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1088137" y="2734056"/>
            <a:ext cx="4965192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sz="1600" dirty="0"/>
              <a:t> </a:t>
            </a:r>
            <a:r>
              <a:rPr lang="de-DE" altLang="zh-CN" dirty="0"/>
              <a:t>um Komplexität zu messen in Abhängigkeit der     Eingangsdaten</a:t>
            </a:r>
          </a:p>
          <a:p>
            <a:pPr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Arten von Komplexitäten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Zeitkomplexität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Platzkomplexität</a:t>
            </a:r>
          </a:p>
          <a:p>
            <a:pPr lvl="1"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Komplexitätsklassen</a:t>
            </a:r>
            <a:r>
              <a:rPr lang="zh-CN" altLang="de-DE" dirty="0"/>
              <a:t> 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=""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7320179" y="5707718"/>
            <a:ext cx="460382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</a:p>
          <a:p>
            <a:r>
              <a:rPr lang="en-GB" sz="1100" i="1" dirty="0" smtClean="0">
                <a:solidFill>
                  <a:schemeClr val="bg2"/>
                </a:solidFill>
              </a:rPr>
              <a:t>“So </a:t>
            </a:r>
            <a:r>
              <a:rPr lang="en-GB" sz="1100" i="1" dirty="0" err="1" smtClean="0">
                <a:solidFill>
                  <a:schemeClr val="bg2"/>
                </a:solidFill>
              </a:rPr>
              <a:t>berechnen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Sie</a:t>
            </a:r>
            <a:r>
              <a:rPr lang="en-GB" sz="1100" i="1" dirty="0" smtClean="0">
                <a:solidFill>
                  <a:schemeClr val="bg2"/>
                </a:solidFill>
              </a:rPr>
              <a:t> die </a:t>
            </a:r>
            <a:r>
              <a:rPr lang="en-GB" sz="1100" i="1" dirty="0" err="1" smtClean="0">
                <a:solidFill>
                  <a:schemeClr val="bg2"/>
                </a:solidFill>
              </a:rPr>
              <a:t>Zeitkomplexitä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mi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der</a:t>
            </a:r>
            <a:r>
              <a:rPr lang="en-GB" sz="1100" i="1" dirty="0" smtClean="0">
                <a:solidFill>
                  <a:schemeClr val="bg2"/>
                </a:solidFill>
              </a:rPr>
              <a:t> Big O-Notation” , ICHI.PRO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514348" y="5625850"/>
            <a:ext cx="4431963" cy="540000"/>
            <a:chOff x="1095149" y="5625850"/>
            <a:chExt cx="4431963" cy="540000"/>
          </a:xfrm>
        </p:grpSpPr>
        <p:sp>
          <p:nvSpPr>
            <p:cNvPr id="14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95149" y="5697170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600197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kalierbarkeit</a:t>
              </a:r>
              <a:endParaRPr lang="zh-CN" altLang="de-DE" dirty="0" smtClean="0"/>
            </a:p>
          </p:txBody>
        </p:sp>
        <p:sp>
          <p:nvSpPr>
            <p:cNvPr id="16" name="Abgerundetes Rechteck 15"/>
            <p:cNvSpPr/>
            <p:nvPr/>
          </p:nvSpPr>
          <p:spPr>
            <a:xfrm>
              <a:off x="3799112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17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425192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8" name="Abgerundetes Rechteck 17"/>
          <p:cNvSpPr/>
          <p:nvPr/>
        </p:nvSpPr>
        <p:spPr>
          <a:xfrm>
            <a:off x="5351911" y="5614964"/>
            <a:ext cx="1728000" cy="54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echen-</a:t>
            </a:r>
            <a:r>
              <a:rPr lang="de-DE" altLang="zh-CN" dirty="0" err="1" smtClean="0"/>
              <a:t>kapazität</a:t>
            </a:r>
            <a:endParaRPr lang="zh-CN" altLang="de-DE" dirty="0" smtClean="0"/>
          </a:p>
        </p:txBody>
      </p:sp>
      <p:sp>
        <p:nvSpPr>
          <p:cNvPr id="20" name="Freeform 1139">
            <a:extLst>
              <a:ext uri="{FF2B5EF4-FFF2-40B4-BE49-F238E27FC236}">
                <a16:creationId xmlns:a16="http://schemas.microsoft.com/office/drawing/2014/main" xmlns="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 flipV="1">
            <a:off x="4963886" y="5791199"/>
            <a:ext cx="326572" cy="149197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RF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SVR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13"/>
          </p:nvPr>
        </p:nvSpPr>
        <p:spPr>
          <a:xfrm>
            <a:off x="7491491" y="1817914"/>
            <a:ext cx="3601052" cy="2623457"/>
          </a:xfrm>
        </p:spPr>
        <p:txBody>
          <a:bodyPr/>
          <a:lstStyle/>
          <a:p>
            <a:r>
              <a:rPr lang="de-DE" altLang="zh-CN" dirty="0" smtClean="0"/>
              <a:t>Welche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Algorithmen eignen sich?</a:t>
            </a:r>
          </a:p>
          <a:p>
            <a:endParaRPr lang="de-DE" altLang="zh-CN" dirty="0"/>
          </a:p>
          <a:p>
            <a:r>
              <a:rPr lang="de-DE" altLang="zh-CN" dirty="0" smtClean="0"/>
              <a:t>Mit welchen </a:t>
            </a:r>
            <a:r>
              <a:rPr lang="de-DE" altLang="zh-CN" dirty="0" err="1" smtClean="0"/>
              <a:t>Metriken</a:t>
            </a:r>
            <a:r>
              <a:rPr lang="de-DE" altLang="zh-CN" dirty="0" smtClean="0"/>
              <a:t> lassen sich die Algorithmen vergleichen?</a:t>
            </a:r>
          </a:p>
          <a:p>
            <a:endParaRPr lang="de-DE" altLang="zh-CN" dirty="0"/>
          </a:p>
          <a:p>
            <a:r>
              <a:rPr lang="de-DE" altLang="zh-CN" dirty="0" smtClean="0"/>
              <a:t>Wie werden echtzeitfähige Modelle entwickelt?</a:t>
            </a:r>
          </a:p>
          <a:p>
            <a:endParaRPr lang="de-DE" altLang="zh-CN" dirty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4" name="Nach oben gebogener Pfeil 13">
            <a:extLst>
              <a:ext uri="{FF2B5EF4-FFF2-40B4-BE49-F238E27FC236}">
                <a16:creationId xmlns="" xmlns:a16="http://schemas.microsoft.com/office/drawing/2014/main" id="{BDF76228-1A83-48C4-9B51-864C6A5B8C48}"/>
              </a:ext>
            </a:extLst>
          </p:cNvPr>
          <p:cNvSpPr/>
          <p:nvPr/>
        </p:nvSpPr>
        <p:spPr>
          <a:xfrm rot="5400000">
            <a:off x="2093660" y="3210836"/>
            <a:ext cx="2389442" cy="1469381"/>
          </a:xfrm>
          <a:prstGeom prst="bentUpArrow">
            <a:avLst>
              <a:gd name="adj1" fmla="val 7573"/>
              <a:gd name="adj2" fmla="val 8365"/>
              <a:gd name="adj3" fmla="val 160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5">
            <a:extLst>
              <a:ext uri="{FF2B5EF4-FFF2-40B4-BE49-F238E27FC236}">
                <a16:creationId xmlns="" xmlns:a16="http://schemas.microsoft.com/office/drawing/2014/main" id="{96E0BC1C-5B73-4729-8293-7A6EC28D757A}"/>
              </a:ext>
            </a:extLst>
          </p:cNvPr>
          <p:cNvSpPr txBox="1"/>
          <p:nvPr/>
        </p:nvSpPr>
        <p:spPr>
          <a:xfrm>
            <a:off x="2424866" y="5762145"/>
            <a:ext cx="364522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  <a:r>
              <a:rPr lang="en-GB" sz="1100" i="1" dirty="0">
                <a:solidFill>
                  <a:schemeClr val="bg2"/>
                </a:solidFill>
              </a:rPr>
              <a:t>“Interims </a:t>
            </a:r>
            <a:r>
              <a:rPr lang="en-GB" sz="1100" i="1" dirty="0" err="1">
                <a:solidFill>
                  <a:schemeClr val="bg2"/>
                </a:solidFill>
              </a:rPr>
              <a:t>Dissertationsvortrag</a:t>
            </a:r>
            <a:r>
              <a:rPr lang="en-GB" sz="1100" i="1" dirty="0">
                <a:solidFill>
                  <a:schemeClr val="bg2"/>
                </a:solidFill>
              </a:rPr>
              <a:t>” (2021), Laura Maier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166691" y="1038069"/>
            <a:ext cx="4084451" cy="2017803"/>
            <a:chOff x="-150479" y="1059841"/>
            <a:chExt cx="4084451" cy="2017803"/>
          </a:xfrm>
        </p:grpSpPr>
        <p:sp>
          <p:nvSpPr>
            <p:cNvPr id="7" name="Textfeld 6">
              <a:extLst>
                <a:ext uri="{FF2B5EF4-FFF2-40B4-BE49-F238E27FC236}">
                  <a16:creationId xmlns="" xmlns:a16="http://schemas.microsoft.com/office/drawing/2014/main" id="{72F585EF-B858-478E-9DBF-846D7EDAB25D}"/>
                </a:ext>
              </a:extLst>
            </p:cNvPr>
            <p:cNvSpPr txBox="1"/>
            <p:nvPr/>
          </p:nvSpPr>
          <p:spPr>
            <a:xfrm>
              <a:off x="-150479" y="1059841"/>
              <a:ext cx="408445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Klassische </a:t>
              </a:r>
              <a:r>
                <a:rPr lang="de-DE" sz="1400" b="1" dirty="0" smtClean="0"/>
                <a:t>MPC (engl. model </a:t>
              </a:r>
              <a:r>
                <a:rPr lang="de-DE" sz="1400" b="1" dirty="0" err="1" smtClean="0"/>
                <a:t>predictive</a:t>
              </a:r>
              <a:r>
                <a:rPr lang="de-DE" sz="1400" b="1" dirty="0" smtClean="0"/>
                <a:t> </a:t>
              </a:r>
              <a:r>
                <a:rPr lang="de-DE" sz="1400" b="1" dirty="0" err="1" smtClean="0"/>
                <a:t>control</a:t>
              </a:r>
              <a:r>
                <a:rPr lang="de-DE" sz="1400" b="1" dirty="0" smtClean="0"/>
                <a:t>)</a:t>
              </a:r>
              <a:endParaRPr lang="de-DE" sz="1400" b="1" dirty="0"/>
            </a:p>
          </p:txBody>
        </p:sp>
        <p:sp>
          <p:nvSpPr>
            <p:cNvPr id="8" name="Flussdiagramm: Verbinder 46">
              <a:extLst>
                <a:ext uri="{FF2B5EF4-FFF2-40B4-BE49-F238E27FC236}">
                  <a16:creationId xmlns=""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4544" y="2456461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54">
              <a:extLst>
                <a:ext uri="{FF2B5EF4-FFF2-40B4-BE49-F238E27FC236}">
                  <a16:creationId xmlns="" xmlns:a16="http://schemas.microsoft.com/office/drawing/2014/main" id="{F349CE45-6FC4-40F7-81C6-FF45B279DA19}"/>
                </a:ext>
              </a:extLst>
            </p:cNvPr>
            <p:cNvGrpSpPr/>
            <p:nvPr/>
          </p:nvGrpSpPr>
          <p:grpSpPr>
            <a:xfrm>
              <a:off x="159090" y="1354804"/>
              <a:ext cx="2331992" cy="1722840"/>
              <a:chOff x="7202852" y="1263524"/>
              <a:chExt cx="1980000" cy="1437225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="" xmlns:a16="http://schemas.microsoft.com/office/drawing/2014/main" id="{1EA4D587-7D41-437B-9FBE-5C4ED1C59F6D}"/>
                  </a:ext>
                </a:extLst>
              </p:cNvPr>
              <p:cNvCxnSpPr/>
              <p:nvPr/>
            </p:nvCxnSpPr>
            <p:spPr>
              <a:xfrm flipV="1">
                <a:off x="7202852" y="2423942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" name="Grafik 11">
                <a:extLst>
                  <a:ext uri="{FF2B5EF4-FFF2-40B4-BE49-F238E27FC236}">
                    <a16:creationId xmlns="" xmlns:a16="http://schemas.microsoft.com/office/drawing/2014/main" id="{C94B2460-C399-4D47-8F5E-251B31739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22449" y="2147644"/>
                <a:ext cx="558951" cy="536179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="" xmlns:a16="http://schemas.microsoft.com/office/drawing/2014/main" id="{C8B2DD34-B360-466D-B039-69B78BF096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21410" y="2140341"/>
                <a:ext cx="574176" cy="550783"/>
              </a:xfrm>
              <a:prstGeom prst="rect">
                <a:avLst/>
              </a:prstGeom>
            </p:spPr>
          </p:pic>
          <p:cxnSp>
            <p:nvCxnSpPr>
              <p:cNvPr id="14" name="Gewinkelter Verbinder 38">
                <a:extLst>
                  <a:ext uri="{FF2B5EF4-FFF2-40B4-BE49-F238E27FC236}">
                    <a16:creationId xmlns="" xmlns:a16="http://schemas.microsoft.com/office/drawing/2014/main" id="{19A90DCC-84FD-4F53-BF0B-D8DC028D4254}"/>
                  </a:ext>
                </a:extLst>
              </p:cNvPr>
              <p:cNvCxnSpPr/>
              <p:nvPr/>
            </p:nvCxnSpPr>
            <p:spPr>
              <a:xfrm rot="10800000" flipV="1">
                <a:off x="7708499" y="2425357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9" name="Textfeld 8">
                    <a:extLst>
                      <a:ext uri="{FF2B5EF4-FFF2-40B4-BE49-F238E27FC236}">
                        <a16:creationId xmlns:a16="http://schemas.microsoft.com/office/drawing/2014/main" id="{806B0A2B-787D-42FB-8E55-6D5FC999DA7B}"/>
                      </a:ext>
                    </a:extLst>
                  </p:cNvPr>
                  <p:cNvSpPr txBox="1"/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5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13333" r="-10000" b="-465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6" name="Gruppieren 9">
                <a:extLst>
                  <a:ext uri="{FF2B5EF4-FFF2-40B4-BE49-F238E27FC236}">
                    <a16:creationId xmlns="" xmlns:a16="http://schemas.microsoft.com/office/drawing/2014/main" id="{2DD66A91-B2EE-4DE1-99B7-B793D170673F}"/>
                  </a:ext>
                </a:extLst>
              </p:cNvPr>
              <p:cNvGrpSpPr/>
              <p:nvPr/>
            </p:nvGrpSpPr>
            <p:grpSpPr>
              <a:xfrm>
                <a:off x="7271641" y="1265535"/>
                <a:ext cx="863081" cy="426176"/>
                <a:chOff x="572044" y="1419869"/>
                <a:chExt cx="863081" cy="426176"/>
              </a:xfrm>
            </p:grpSpPr>
            <p:pic>
              <p:nvPicPr>
                <p:cNvPr id="27" name="Grafik 26">
                  <a:extLst>
                    <a:ext uri="{FF2B5EF4-FFF2-40B4-BE49-F238E27FC236}">
                      <a16:creationId xmlns="" xmlns:a16="http://schemas.microsoft.com/office/drawing/2014/main" id="{8BC3206E-10A3-40B2-A144-832F301C2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28" name="Grafik 27">
                  <a:extLst>
                    <a:ext uri="{FF2B5EF4-FFF2-40B4-BE49-F238E27FC236}">
                      <a16:creationId xmlns="" xmlns:a16="http://schemas.microsoft.com/office/drawing/2014/main" id="{5D089EF3-743C-4682-B256-66E23CC434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9" name="Rechteck 28">
                  <a:extLst>
                    <a:ext uri="{FF2B5EF4-FFF2-40B4-BE49-F238E27FC236}">
                      <a16:creationId xmlns="" xmlns:a16="http://schemas.microsoft.com/office/drawing/2014/main" id="{1335EE88-A3AC-4BEE-9D43-6C6B91273C04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17" name="Gewinkelter Verbinder 46">
                <a:extLst>
                  <a:ext uri="{FF2B5EF4-FFF2-40B4-BE49-F238E27FC236}">
                    <a16:creationId xmlns="" xmlns:a16="http://schemas.microsoft.com/office/drawing/2014/main" id="{6C8F7A51-2ED2-4A93-843A-95846DE80713}"/>
                  </a:ext>
                </a:extLst>
              </p:cNvPr>
              <p:cNvCxnSpPr>
                <a:stCxn id="29" idx="2"/>
                <a:endCxn id="13" idx="0"/>
              </p:cNvCxnSpPr>
              <p:nvPr/>
            </p:nvCxnSpPr>
            <p:spPr>
              <a:xfrm rot="16200000" flipH="1">
                <a:off x="7481525" y="1913368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winkelter Verbinder 47">
                <a:extLst>
                  <a:ext uri="{FF2B5EF4-FFF2-40B4-BE49-F238E27FC236}">
                    <a16:creationId xmlns="" xmlns:a16="http://schemas.microsoft.com/office/drawing/2014/main" id="{3A2E0259-8645-4FEE-B394-62F847D6614D}"/>
                  </a:ext>
                </a:extLst>
              </p:cNvPr>
              <p:cNvCxnSpPr>
                <a:stCxn id="29" idx="2"/>
                <a:endCxn id="12" idx="0"/>
              </p:cNvCxnSpPr>
              <p:nvPr/>
            </p:nvCxnSpPr>
            <p:spPr>
              <a:xfrm rot="16200000" flipH="1">
                <a:off x="7924587" y="1470305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3" name="Textfeld 12">
                    <a:extLst>
                      <a:ext uri="{FF2B5EF4-FFF2-40B4-BE49-F238E27FC236}">
                        <a16:creationId xmlns:a16="http://schemas.microsoft.com/office/drawing/2014/main" id="{0F7D5105-3345-4852-BB5F-BF4F20EBFA9A}"/>
                      </a:ext>
                    </a:extLst>
                  </p:cNvPr>
                  <p:cNvSpPr txBox="1"/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9" name="Textfeld 1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16129" r="-6452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20" name="Gruppieren 13">
                <a:extLst>
                  <a:ext uri="{FF2B5EF4-FFF2-40B4-BE49-F238E27FC236}">
                    <a16:creationId xmlns="" xmlns:a16="http://schemas.microsoft.com/office/drawing/2014/main" id="{DB4E289D-C900-4CA0-B30E-857F229CDE03}"/>
                  </a:ext>
                </a:extLst>
              </p:cNvPr>
              <p:cNvGrpSpPr/>
              <p:nvPr/>
            </p:nvGrpSpPr>
            <p:grpSpPr>
              <a:xfrm>
                <a:off x="8227929" y="1263524"/>
                <a:ext cx="863081" cy="426176"/>
                <a:chOff x="572044" y="1419869"/>
                <a:chExt cx="863081" cy="426176"/>
              </a:xfrm>
            </p:grpSpPr>
            <p:pic>
              <p:nvPicPr>
                <p:cNvPr id="24" name="Grafik 23">
                  <a:extLst>
                    <a:ext uri="{FF2B5EF4-FFF2-40B4-BE49-F238E27FC236}">
                      <a16:creationId xmlns="" xmlns:a16="http://schemas.microsoft.com/office/drawing/2014/main" id="{989038F9-C159-42EE-B9C3-FA0A86E63A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25" name="Grafik 24">
                  <a:extLst>
                    <a:ext uri="{FF2B5EF4-FFF2-40B4-BE49-F238E27FC236}">
                      <a16:creationId xmlns="" xmlns:a16="http://schemas.microsoft.com/office/drawing/2014/main" id="{A0227ADA-F42E-4CBF-92AA-CAC00C647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6" name="Rechteck 25">
                  <a:extLst>
                    <a:ext uri="{FF2B5EF4-FFF2-40B4-BE49-F238E27FC236}">
                      <a16:creationId xmlns="" xmlns:a16="http://schemas.microsoft.com/office/drawing/2014/main" id="{25AE2026-81D0-4FCA-ACAC-E0BEAE01F7AB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21" name="Gewinkelter Verbinder 56">
                <a:extLst>
                  <a:ext uri="{FF2B5EF4-FFF2-40B4-BE49-F238E27FC236}">
                    <a16:creationId xmlns="" xmlns:a16="http://schemas.microsoft.com/office/drawing/2014/main" id="{7E3F5B7D-652C-4700-8EBC-A84F531C7375}"/>
                  </a:ext>
                </a:extLst>
              </p:cNvPr>
              <p:cNvCxnSpPr>
                <a:stCxn id="26" idx="2"/>
                <a:endCxn id="13" idx="0"/>
              </p:cNvCxnSpPr>
              <p:nvPr/>
            </p:nvCxnSpPr>
            <p:spPr>
              <a:xfrm rot="5400000">
                <a:off x="7958664" y="1439534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6" name="Textfeld 15">
                    <a:extLst>
                      <a:ext uri="{FF2B5EF4-FFF2-40B4-BE49-F238E27FC236}">
                        <a16:creationId xmlns:a16="http://schemas.microsoft.com/office/drawing/2014/main" id="{45CD0701-1FD5-463C-B5D8-A5A8AD7F8AE1}"/>
                      </a:ext>
                    </a:extLst>
                  </p:cNvPr>
                  <p:cNvSpPr txBox="1"/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22" name="Textfeld 2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12903" t="-11111" r="-70968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17" name="Textfeld 16">
                    <a:extLst>
                      <a:ext uri="{FF2B5EF4-FFF2-40B4-BE49-F238E27FC236}">
                        <a16:creationId xmlns:a16="http://schemas.microsoft.com/office/drawing/2014/main" id="{0CA6CB45-3790-4E17-BD88-F6A21C4CF95E}"/>
                      </a:ext>
                    </a:extLst>
                  </p:cNvPr>
                  <p:cNvSpPr txBox="1"/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23" name="Textfeld 2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3333" r="-333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0" name="Flussdiagramm: Verbinder 46">
              <a:extLst>
                <a:ext uri="{FF2B5EF4-FFF2-40B4-BE49-F238E27FC236}">
                  <a16:creationId xmlns="" xmlns:a16="http://schemas.microsoft.com/office/drawing/2014/main" id="{64C39D63-29BE-4E9E-B727-ECD40E1B503C}"/>
                </a:ext>
              </a:extLst>
            </p:cNvPr>
            <p:cNvSpPr/>
            <p:nvPr/>
          </p:nvSpPr>
          <p:spPr>
            <a:xfrm>
              <a:off x="1147156" y="2457767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24473" y="3311831"/>
            <a:ext cx="2439031" cy="2041416"/>
            <a:chOff x="2696418" y="3333602"/>
            <a:chExt cx="2439031" cy="2041416"/>
          </a:xfrm>
        </p:grpSpPr>
        <p:sp>
          <p:nvSpPr>
            <p:cNvPr id="31" name="Textfeld 30">
              <a:extLst>
                <a:ext uri="{FF2B5EF4-FFF2-40B4-BE49-F238E27FC236}">
                  <a16:creationId xmlns="" xmlns:a16="http://schemas.microsoft.com/office/drawing/2014/main" id="{5CBC82BF-9CE7-409E-80A6-70B2F3753EB0}"/>
                </a:ext>
              </a:extLst>
            </p:cNvPr>
            <p:cNvSpPr txBox="1"/>
            <p:nvPr/>
          </p:nvSpPr>
          <p:spPr>
            <a:xfrm>
              <a:off x="3090529" y="3333602"/>
              <a:ext cx="16639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Approximierte MPC</a:t>
              </a:r>
            </a:p>
          </p:txBody>
        </p:sp>
        <p:grpSp>
          <p:nvGrpSpPr>
            <p:cNvPr id="32" name="Gruppieren 77">
              <a:extLst>
                <a:ext uri="{FF2B5EF4-FFF2-40B4-BE49-F238E27FC236}">
                  <a16:creationId xmlns="" xmlns:a16="http://schemas.microsoft.com/office/drawing/2014/main" id="{375C1478-3CB3-450E-BED9-D95AFE02F858}"/>
                </a:ext>
              </a:extLst>
            </p:cNvPr>
            <p:cNvGrpSpPr/>
            <p:nvPr/>
          </p:nvGrpSpPr>
          <p:grpSpPr>
            <a:xfrm>
              <a:off x="2696418" y="3654558"/>
              <a:ext cx="2439031" cy="1720460"/>
              <a:chOff x="9519467" y="3357655"/>
              <a:chExt cx="1980000" cy="1445843"/>
            </a:xfrm>
          </p:grpSpPr>
          <p:cxnSp>
            <p:nvCxnSpPr>
              <p:cNvPr id="33" name="Gerade Verbindung mit Pfeil 32">
                <a:extLst>
                  <a:ext uri="{FF2B5EF4-FFF2-40B4-BE49-F238E27FC236}">
                    <a16:creationId xmlns="" xmlns:a16="http://schemas.microsoft.com/office/drawing/2014/main" id="{2DEABDA3-1D3A-4407-9EEB-FE50F87DB2E5}"/>
                  </a:ext>
                </a:extLst>
              </p:cNvPr>
              <p:cNvCxnSpPr/>
              <p:nvPr/>
            </p:nvCxnSpPr>
            <p:spPr>
              <a:xfrm flipV="1">
                <a:off x="9519467" y="4518073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4" name="Grafik 33">
                <a:extLst>
                  <a:ext uri="{FF2B5EF4-FFF2-40B4-BE49-F238E27FC236}">
                    <a16:creationId xmlns="" xmlns:a16="http://schemas.microsoft.com/office/drawing/2014/main" id="{01E723E4-5BB8-487D-9425-3957E9E8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39064" y="4241775"/>
                <a:ext cx="558951" cy="536179"/>
              </a:xfrm>
              <a:prstGeom prst="rect">
                <a:avLst/>
              </a:prstGeom>
            </p:spPr>
          </p:pic>
          <p:cxnSp>
            <p:nvCxnSpPr>
              <p:cNvPr id="35" name="Gewinkelter Verbinder 64">
                <a:extLst>
                  <a:ext uri="{FF2B5EF4-FFF2-40B4-BE49-F238E27FC236}">
                    <a16:creationId xmlns="" xmlns:a16="http://schemas.microsoft.com/office/drawing/2014/main" id="{A2A595AF-519A-44DC-9A41-2ADF7E126E17}"/>
                  </a:ext>
                </a:extLst>
              </p:cNvPr>
              <p:cNvCxnSpPr/>
              <p:nvPr/>
            </p:nvCxnSpPr>
            <p:spPr>
              <a:xfrm rot="10800000" flipV="1">
                <a:off x="10025114" y="4519488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28" name="Textfeld 27">
                    <a:extLst>
                      <a:ext uri="{FF2B5EF4-FFF2-40B4-BE49-F238E27FC236}">
                        <a16:creationId xmlns:a16="http://schemas.microsoft.com/office/drawing/2014/main" id="{5D2B2DA1-1678-48E5-A983-536EF2633CE5}"/>
                      </a:ext>
                    </a:extLst>
                  </p:cNvPr>
                  <p:cNvSpPr txBox="1"/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36" name="Textfeld 3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9677" r="-9677" b="-714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37" name="Gruppieren 28">
                <a:extLst>
                  <a:ext uri="{FF2B5EF4-FFF2-40B4-BE49-F238E27FC236}">
                    <a16:creationId xmlns="" xmlns:a16="http://schemas.microsoft.com/office/drawing/2014/main" id="{8EA72DFE-DF05-42A3-85D3-9C0E3CF0FFE0}"/>
                  </a:ext>
                </a:extLst>
              </p:cNvPr>
              <p:cNvGrpSpPr/>
              <p:nvPr/>
            </p:nvGrpSpPr>
            <p:grpSpPr>
              <a:xfrm>
                <a:off x="9588256" y="3359666"/>
                <a:ext cx="863081" cy="426176"/>
                <a:chOff x="572044" y="1419869"/>
                <a:chExt cx="863081" cy="426176"/>
              </a:xfrm>
            </p:grpSpPr>
            <p:pic>
              <p:nvPicPr>
                <p:cNvPr id="50" name="Grafik 49">
                  <a:extLst>
                    <a:ext uri="{FF2B5EF4-FFF2-40B4-BE49-F238E27FC236}">
                      <a16:creationId xmlns="" xmlns:a16="http://schemas.microsoft.com/office/drawing/2014/main" id="{C8876757-BD2E-4E73-8F2F-62BD965B2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51" name="Grafik 50">
                  <a:extLst>
                    <a:ext uri="{FF2B5EF4-FFF2-40B4-BE49-F238E27FC236}">
                      <a16:creationId xmlns="" xmlns:a16="http://schemas.microsoft.com/office/drawing/2014/main" id="{8B134B65-0AF1-485F-9772-5A0599440B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52" name="Rechteck 51">
                  <a:extLst>
                    <a:ext uri="{FF2B5EF4-FFF2-40B4-BE49-F238E27FC236}">
                      <a16:creationId xmlns="" xmlns:a16="http://schemas.microsoft.com/office/drawing/2014/main" id="{F675F7FF-BDF3-43E4-9EF3-2907C52665D6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38" name="Gewinkelter Verbinder 70">
                <a:extLst>
                  <a:ext uri="{FF2B5EF4-FFF2-40B4-BE49-F238E27FC236}">
                    <a16:creationId xmlns="" xmlns:a16="http://schemas.microsoft.com/office/drawing/2014/main" id="{6760EF42-3815-4824-8CDE-53AD1B8923BE}"/>
                  </a:ext>
                </a:extLst>
              </p:cNvPr>
              <p:cNvCxnSpPr>
                <a:stCxn id="52" idx="2"/>
              </p:cNvCxnSpPr>
              <p:nvPr/>
            </p:nvCxnSpPr>
            <p:spPr>
              <a:xfrm rot="16200000" flipH="1">
                <a:off x="9798140" y="4007499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winkelter Verbinder 71">
                <a:extLst>
                  <a:ext uri="{FF2B5EF4-FFF2-40B4-BE49-F238E27FC236}">
                    <a16:creationId xmlns="" xmlns:a16="http://schemas.microsoft.com/office/drawing/2014/main" id="{AA410913-B801-497D-849F-D4AFB3B43815}"/>
                  </a:ext>
                </a:extLst>
              </p:cNvPr>
              <p:cNvCxnSpPr>
                <a:stCxn id="52" idx="2"/>
                <a:endCxn id="34" idx="0"/>
              </p:cNvCxnSpPr>
              <p:nvPr/>
            </p:nvCxnSpPr>
            <p:spPr>
              <a:xfrm rot="16200000" flipH="1">
                <a:off x="10241202" y="3564436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2" name="Textfeld 31">
                    <a:extLst>
                      <a:ext uri="{FF2B5EF4-FFF2-40B4-BE49-F238E27FC236}">
                        <a16:creationId xmlns:a16="http://schemas.microsoft.com/office/drawing/2014/main" id="{43F41C59-1F2E-42AE-979A-7D31F19C2392}"/>
                      </a:ext>
                    </a:extLst>
                  </p:cNvPr>
                  <p:cNvSpPr txBox="1"/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0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9091" r="-606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41" name="Gruppieren 32">
                <a:extLst>
                  <a:ext uri="{FF2B5EF4-FFF2-40B4-BE49-F238E27FC236}">
                    <a16:creationId xmlns="" xmlns:a16="http://schemas.microsoft.com/office/drawing/2014/main" id="{5AA65793-EDA1-4CE2-AF3C-656452FBAC4C}"/>
                  </a:ext>
                </a:extLst>
              </p:cNvPr>
              <p:cNvGrpSpPr/>
              <p:nvPr/>
            </p:nvGrpSpPr>
            <p:grpSpPr>
              <a:xfrm>
                <a:off x="10544544" y="3357655"/>
                <a:ext cx="863081" cy="426176"/>
                <a:chOff x="572044" y="1419869"/>
                <a:chExt cx="863081" cy="426176"/>
              </a:xfrm>
            </p:grpSpPr>
            <p:pic>
              <p:nvPicPr>
                <p:cNvPr id="47" name="Grafik 46">
                  <a:extLst>
                    <a:ext uri="{FF2B5EF4-FFF2-40B4-BE49-F238E27FC236}">
                      <a16:creationId xmlns="" xmlns:a16="http://schemas.microsoft.com/office/drawing/2014/main" id="{6F371169-558D-476A-BA00-5DAEA5AB6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48" name="Grafik 47">
                  <a:extLst>
                    <a:ext uri="{FF2B5EF4-FFF2-40B4-BE49-F238E27FC236}">
                      <a16:creationId xmlns="" xmlns:a16="http://schemas.microsoft.com/office/drawing/2014/main" id="{A05A8ED2-080A-4464-B7C5-30521E9C7C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49" name="Rechteck 48">
                  <a:extLst>
                    <a:ext uri="{FF2B5EF4-FFF2-40B4-BE49-F238E27FC236}">
                      <a16:creationId xmlns="" xmlns:a16="http://schemas.microsoft.com/office/drawing/2014/main" id="{1E9198ED-DEF1-4EE0-9F6B-14D479095757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42" name="Gewinkelter Verbinder 77">
                <a:extLst>
                  <a:ext uri="{FF2B5EF4-FFF2-40B4-BE49-F238E27FC236}">
                    <a16:creationId xmlns="" xmlns:a16="http://schemas.microsoft.com/office/drawing/2014/main" id="{4CE577CD-9043-4C20-AC47-E893DE086012}"/>
                  </a:ext>
                </a:extLst>
              </p:cNvPr>
              <p:cNvCxnSpPr>
                <a:stCxn id="49" idx="2"/>
              </p:cNvCxnSpPr>
              <p:nvPr/>
            </p:nvCxnSpPr>
            <p:spPr>
              <a:xfrm rot="5400000">
                <a:off x="10275279" y="3533665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59565E5D-BCD9-44AC-8E66-6C7293F61266}"/>
                      </a:ext>
                    </a:extLst>
                  </p:cNvPr>
                  <p:cNvSpPr txBox="1"/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3" name="Textfeld 4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12500" t="-13636" r="-6875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="" xmlns:a14="http://schemas.microsoft.com/office/drawing/2010/main" Requires="a14"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25567ADA-8635-4873-BD4B-64E93955F65A}"/>
                      </a:ext>
                    </a:extLst>
                  </p:cNvPr>
                  <p:cNvSpPr txBox="1"/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4" name="Textfeld 4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pic>
            <p:nvPicPr>
              <p:cNvPr id="45" name="Grafik 44">
                <a:extLst>
                  <a:ext uri="{FF2B5EF4-FFF2-40B4-BE49-F238E27FC236}">
                    <a16:creationId xmlns="" xmlns:a16="http://schemas.microsoft.com/office/drawing/2014/main" id="{4925E363-7264-416F-AECF-6C432CBC6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16015" y="4247271"/>
                <a:ext cx="579850" cy="556227"/>
              </a:xfrm>
              <a:prstGeom prst="rect">
                <a:avLst/>
              </a:prstGeom>
            </p:spPr>
          </p:pic>
          <p:pic>
            <p:nvPicPr>
              <p:cNvPr id="46" name="Grafik 45">
                <a:extLst>
                  <a:ext uri="{FF2B5EF4-FFF2-40B4-BE49-F238E27FC236}">
                    <a16:creationId xmlns="" xmlns:a16="http://schemas.microsoft.com/office/drawing/2014/main" id="{02AE8D96-98B5-46A4-8C2C-1E60B3E03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58457" y="4212626"/>
                <a:ext cx="227466" cy="218199"/>
              </a:xfrm>
              <a:prstGeom prst="rect">
                <a:avLst/>
              </a:prstGeom>
            </p:spPr>
          </p:pic>
        </p:grpSp>
      </p:grpSp>
      <p:grpSp>
        <p:nvGrpSpPr>
          <p:cNvPr id="53" name="Gruppieren 52"/>
          <p:cNvGrpSpPr/>
          <p:nvPr/>
        </p:nvGrpSpPr>
        <p:grpSpPr>
          <a:xfrm>
            <a:off x="4288971" y="1545769"/>
            <a:ext cx="1970315" cy="1262743"/>
            <a:chOff x="2819400" y="1338941"/>
            <a:chExt cx="1970315" cy="1262743"/>
          </a:xfrm>
        </p:grpSpPr>
        <p:sp>
          <p:nvSpPr>
            <p:cNvPr id="54" name="Rechteck 53"/>
            <p:cNvSpPr/>
            <p:nvPr/>
          </p:nvSpPr>
          <p:spPr>
            <a:xfrm>
              <a:off x="2819400" y="1338941"/>
              <a:ext cx="1970315" cy="1262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ell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Messwert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ör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Prädiktion</a:t>
              </a:r>
              <a:endParaRPr lang="zh-CN" altLang="de-DE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55" name="Grafik 54" descr="u.PN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207872" y="1502227"/>
              <a:ext cx="188472" cy="188472"/>
            </a:xfrm>
            <a:prstGeom prst="rect">
              <a:avLst/>
            </a:prstGeom>
          </p:spPr>
        </p:pic>
        <p:pic>
          <p:nvPicPr>
            <p:cNvPr id="56" name="Grafik 55" descr="y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229642" y="1756033"/>
              <a:ext cx="177588" cy="214975"/>
            </a:xfrm>
            <a:prstGeom prst="rect">
              <a:avLst/>
            </a:prstGeom>
          </p:spPr>
        </p:pic>
        <p:pic>
          <p:nvPicPr>
            <p:cNvPr id="57" name="Grafik 56" descr="d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12633" y="2024743"/>
              <a:ext cx="192614" cy="235417"/>
            </a:xfrm>
            <a:prstGeom prst="rect">
              <a:avLst/>
            </a:prstGeom>
          </p:spPr>
        </p:pic>
        <p:pic>
          <p:nvPicPr>
            <p:cNvPr id="58" name="Grafik 57" descr="^d.PN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04000" y="2304000"/>
              <a:ext cx="173503" cy="224532"/>
            </a:xfrm>
            <a:prstGeom prst="rect">
              <a:avLst/>
            </a:prstGeom>
          </p:spPr>
        </p:pic>
      </p:grpSp>
      <p:sp>
        <p:nvSpPr>
          <p:cNvPr id="62" name="Ellipse 61"/>
          <p:cNvSpPr/>
          <p:nvPr/>
        </p:nvSpPr>
        <p:spPr>
          <a:xfrm>
            <a:off x="1142999" y="1012371"/>
            <a:ext cx="2993572" cy="2253343"/>
          </a:xfrm>
          <a:prstGeom prst="ellipse">
            <a:avLst/>
          </a:prstGeom>
          <a:noFill/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424545" y="3679372"/>
            <a:ext cx="1796141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1400" b="1" dirty="0" smtClean="0"/>
              <a:t>Hierarchischer MPC</a:t>
            </a:r>
          </a:p>
          <a:p>
            <a:r>
              <a:rPr lang="de-DE" altLang="zh-CN" sz="1400" b="1" dirty="0" smtClean="0"/>
              <a:t> </a:t>
            </a:r>
          </a:p>
          <a:p>
            <a:r>
              <a:rPr lang="de-DE" altLang="zh-CN" sz="1400" dirty="0" smtClean="0"/>
              <a:t>Aus: </a:t>
            </a:r>
            <a:r>
              <a:rPr lang="en-GB" sz="1400" i="1" dirty="0" smtClean="0">
                <a:solidFill>
                  <a:schemeClr val="bg2"/>
                </a:solidFill>
              </a:rPr>
              <a:t> </a:t>
            </a:r>
          </a:p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“Time-based </a:t>
            </a:r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economic hierarchical model predictive control of all-electric energy systems in non-residential </a:t>
            </a:r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buildings” (2021), Laura Maier; Larissa </a:t>
            </a:r>
            <a:r>
              <a:rPr lang="en-US" sz="9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Kühn</a:t>
            </a:r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; Dirk </a:t>
            </a:r>
            <a:r>
              <a:rPr lang="en-US" sz="9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Müller</a:t>
            </a:r>
            <a:endParaRPr lang="en-GB" sz="900" i="1" dirty="0" smtClean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  <a:p>
            <a:endParaRPr lang="de-DE" altLang="zh-CN" sz="1400" dirty="0" smtClean="0"/>
          </a:p>
          <a:p>
            <a:endParaRPr lang="zh-CN" altLang="de-DE" sz="1400" dirty="0" smtClean="0"/>
          </a:p>
        </p:txBody>
      </p:sp>
      <p:sp>
        <p:nvSpPr>
          <p:cNvPr id="66" name="Abgerundetes Rechteck 65"/>
          <p:cNvSpPr/>
          <p:nvPr/>
        </p:nvSpPr>
        <p:spPr>
          <a:xfrm>
            <a:off x="239486" y="3646714"/>
            <a:ext cx="2057400" cy="1447800"/>
          </a:xfrm>
          <a:prstGeom prst="roundRect">
            <a:avLst>
              <a:gd name="adj" fmla="val 12908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/>
          <p:cNvCxnSpPr>
            <a:stCxn id="62" idx="3"/>
            <a:endCxn id="66" idx="0"/>
          </p:cNvCxnSpPr>
          <p:nvPr/>
        </p:nvCxnSpPr>
        <p:spPr>
          <a:xfrm flipH="1">
            <a:off x="1268186" y="2935720"/>
            <a:ext cx="313212" cy="710994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build="p"/>
      <p:bldP spid="4" grpId="0" animBg="1"/>
      <p:bldP spid="5" grpId="0"/>
      <p:bldP spid="62" grpId="0" animBg="1"/>
      <p:bldP spid="63" grpId="0"/>
      <p:bldP spid="6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Abgerundetes Rechteck 80"/>
          <p:cNvSpPr/>
          <p:nvPr/>
        </p:nvSpPr>
        <p:spPr>
          <a:xfrm>
            <a:off x="9122229" y="1262743"/>
            <a:ext cx="2852057" cy="4234543"/>
          </a:xfrm>
          <a:prstGeom prst="roundRect">
            <a:avLst>
              <a:gd name="adj" fmla="val 5217"/>
            </a:avLst>
          </a:prstGeom>
          <a:solidFill>
            <a:srgbClr val="C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2" name="Freeform 1086">
            <a:extLst>
              <a:ext uri="{FF2B5EF4-FFF2-40B4-BE49-F238E27FC236}">
                <a16:creationId xmlns=""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70389" y="5454994"/>
            <a:ext cx="402074" cy="39852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grpSp>
        <p:nvGrpSpPr>
          <p:cNvPr id="75" name="Gruppieren 74"/>
          <p:cNvGrpSpPr/>
          <p:nvPr/>
        </p:nvGrpSpPr>
        <p:grpSpPr>
          <a:xfrm>
            <a:off x="360000" y="1260000"/>
            <a:ext cx="2844000" cy="900000"/>
            <a:chOff x="315687" y="1709057"/>
            <a:chExt cx="2819400" cy="879687"/>
          </a:xfrm>
        </p:grpSpPr>
        <p:sp>
          <p:nvSpPr>
            <p:cNvPr id="61" name="Abgerundetes Rechteck 60"/>
            <p:cNvSpPr/>
            <p:nvPr/>
          </p:nvSpPr>
          <p:spPr>
            <a:xfrm>
              <a:off x="315687" y="1709057"/>
              <a:ext cx="2819400" cy="879687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err="1" smtClean="0"/>
                <a:t>Machine</a:t>
              </a:r>
              <a:r>
                <a:rPr lang="de-DE" altLang="zh-CN" dirty="0" smtClean="0"/>
                <a:t> </a:t>
              </a:r>
            </a:p>
            <a:p>
              <a:pPr algn="ctr"/>
              <a:r>
                <a:rPr lang="de-DE" altLang="zh-CN" dirty="0" smtClean="0"/>
                <a:t>Learning</a:t>
              </a:r>
              <a:endParaRPr lang="zh-CN" altLang="de-DE" dirty="0" err="1" smtClean="0"/>
            </a:p>
          </p:txBody>
        </p:sp>
        <p:pic>
          <p:nvPicPr>
            <p:cNvPr id="4" name="Grafik 3">
              <a:extLst>
                <a:ext uri="{FF2B5EF4-FFF2-40B4-BE49-F238E27FC236}">
                  <a16:creationId xmlns="" xmlns:a16="http://schemas.microsoft.com/office/drawing/2014/main" id="{4925E363-7264-416F-AECF-6C432CBC6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6590" y="1839314"/>
              <a:ext cx="714279" cy="661874"/>
            </a:xfrm>
            <a:prstGeom prst="rect">
              <a:avLst/>
            </a:prstGeom>
          </p:spPr>
        </p:pic>
      </p:grpSp>
      <p:grpSp>
        <p:nvGrpSpPr>
          <p:cNvPr id="77" name="Gruppieren 76"/>
          <p:cNvGrpSpPr/>
          <p:nvPr/>
        </p:nvGrpSpPr>
        <p:grpSpPr>
          <a:xfrm>
            <a:off x="540000" y="2520000"/>
            <a:ext cx="2503714" cy="2880000"/>
            <a:chOff x="540000" y="2520000"/>
            <a:chExt cx="2503714" cy="2880000"/>
          </a:xfrm>
        </p:grpSpPr>
        <p:sp>
          <p:nvSpPr>
            <p:cNvPr id="7" name="Abgerundetes Rechteck 6"/>
            <p:cNvSpPr/>
            <p:nvPr/>
          </p:nvSpPr>
          <p:spPr>
            <a:xfrm>
              <a:off x="540000" y="2520000"/>
              <a:ext cx="2484000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ünstlich Neuronales Netzwerk (ANN)</a:t>
              </a:r>
              <a:endParaRPr lang="zh-CN" altLang="de-DE" dirty="0" err="1" smtClean="0"/>
            </a:p>
          </p:txBody>
        </p:sp>
        <p:sp>
          <p:nvSpPr>
            <p:cNvPr id="8" name="Abgerundetes Rechteck 7"/>
            <p:cNvSpPr/>
            <p:nvPr/>
          </p:nvSpPr>
          <p:spPr>
            <a:xfrm>
              <a:off x="540000" y="360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andom </a:t>
              </a:r>
              <a:r>
                <a:rPr lang="de-DE" altLang="zh-CN" dirty="0" err="1" smtClean="0"/>
                <a:t>Forest</a:t>
              </a:r>
              <a:r>
                <a:rPr lang="de-DE" altLang="zh-CN" dirty="0" smtClean="0"/>
                <a:t> (RF)</a:t>
              </a:r>
              <a:endParaRPr lang="zh-CN" altLang="de-DE" dirty="0" err="1" smtClean="0"/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540000" y="468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upport </a:t>
              </a:r>
              <a:r>
                <a:rPr lang="de-DE" altLang="zh-CN" dirty="0" err="1" smtClean="0"/>
                <a:t>Vector</a:t>
              </a:r>
              <a:r>
                <a:rPr lang="de-DE" altLang="zh-CN" dirty="0" smtClean="0"/>
                <a:t> Regression (SVR)</a:t>
              </a:r>
              <a:endParaRPr lang="zh-CN" altLang="de-DE" dirty="0" err="1" smtClean="0"/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9360000" y="3610886"/>
            <a:ext cx="2520000" cy="720000"/>
            <a:chOff x="4860000" y="2088000"/>
            <a:chExt cx="2520000" cy="792000"/>
          </a:xfrm>
        </p:grpSpPr>
        <p:sp>
          <p:nvSpPr>
            <p:cNvPr id="13" name="Abgerundetes Rechteck 12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14" name="Freeform 924">
              <a:extLst>
                <a:ext uri="{FF2B5EF4-FFF2-40B4-BE49-F238E27FC236}">
                  <a16:creationId xmlns:a16="http://schemas.microsoft.com/office/drawing/2014/main" xmlns="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9360000" y="2520000"/>
            <a:ext cx="2492829" cy="720000"/>
            <a:chOff x="864000" y="2088000"/>
            <a:chExt cx="2492829" cy="794659"/>
          </a:xfrm>
        </p:grpSpPr>
        <p:sp>
          <p:nvSpPr>
            <p:cNvPr id="16" name="Abgerundetes Rechteck 15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17" name="Freeform 1086">
              <a:extLst>
                <a:ext uri="{FF2B5EF4-FFF2-40B4-BE49-F238E27FC236}">
                  <a16:creationId xmlns="" xmlns:a16="http://schemas.microsoft.com/office/drawing/2014/main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9360000" y="4680000"/>
            <a:ext cx="2520000" cy="720000"/>
            <a:chOff x="9036000" y="2088000"/>
            <a:chExt cx="2520000" cy="792000"/>
          </a:xfrm>
        </p:grpSpPr>
        <p:sp>
          <p:nvSpPr>
            <p:cNvPr id="20" name="Abgerundetes Rechteck 19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1" name="Freeform 1342">
              <a:extLst>
                <a:ext uri="{FF2B5EF4-FFF2-40B4-BE49-F238E27FC236}">
                  <a16:creationId xmlns="" xmlns:a16="http://schemas.microsoft.com/office/drawing/2014/main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80" name="Gruppieren 79"/>
          <p:cNvGrpSpPr/>
          <p:nvPr/>
        </p:nvGrpSpPr>
        <p:grpSpPr>
          <a:xfrm>
            <a:off x="5832000" y="3060000"/>
            <a:ext cx="3024000" cy="540000"/>
            <a:chOff x="5832000" y="3060000"/>
            <a:chExt cx="3132000" cy="54000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5832000" y="3060000"/>
              <a:ext cx="540000" cy="540000"/>
              <a:chOff x="755143" y="966771"/>
              <a:chExt cx="720000" cy="720000"/>
            </a:xfrm>
          </p:grpSpPr>
          <p:sp>
            <p:nvSpPr>
              <p:cNvPr id="24" name="Abgerundetes Rechteck 23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5" name="Freeform 1086">
                <a:extLst>
                  <a:ext uri="{FF2B5EF4-FFF2-40B4-BE49-F238E27FC236}">
                    <a16:creationId xmlns=""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6" name="Gruppieren 25"/>
            <p:cNvGrpSpPr/>
            <p:nvPr/>
          </p:nvGrpSpPr>
          <p:grpSpPr>
            <a:xfrm>
              <a:off x="6912000" y="3060000"/>
              <a:ext cx="540000" cy="540000"/>
              <a:chOff x="1560686" y="966771"/>
              <a:chExt cx="720000" cy="720000"/>
            </a:xfrm>
          </p:grpSpPr>
          <p:sp>
            <p:nvSpPr>
              <p:cNvPr id="27" name="Abgerundetes Rechteck 26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8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7992000" y="3060000"/>
              <a:ext cx="540000" cy="540000"/>
              <a:chOff x="2355343" y="977657"/>
              <a:chExt cx="720000" cy="72000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1" name="Freeform 1342">
                <a:extLst>
                  <a:ext uri="{FF2B5EF4-FFF2-40B4-BE49-F238E27FC236}">
                    <a16:creationId xmlns=""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33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6408000" y="313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752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860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5832000" y="4176000"/>
            <a:ext cx="3024000" cy="540000"/>
            <a:chOff x="8640000" y="3240000"/>
            <a:chExt cx="3132000" cy="540000"/>
          </a:xfrm>
        </p:grpSpPr>
        <p:grpSp>
          <p:nvGrpSpPr>
            <p:cNvPr id="39" name="Gruppieren 38"/>
            <p:cNvGrpSpPr/>
            <p:nvPr/>
          </p:nvGrpSpPr>
          <p:grpSpPr>
            <a:xfrm>
              <a:off x="9720000" y="3240000"/>
              <a:ext cx="540000" cy="540000"/>
              <a:chOff x="1560686" y="966771"/>
              <a:chExt cx="720000" cy="720000"/>
            </a:xfrm>
          </p:grpSpPr>
          <p:sp>
            <p:nvSpPr>
              <p:cNvPr id="40" name="Abgerundetes Rechteck 39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1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42" name="Gruppieren 41"/>
            <p:cNvGrpSpPr/>
            <p:nvPr/>
          </p:nvGrpSpPr>
          <p:grpSpPr>
            <a:xfrm>
              <a:off x="10800000" y="3240000"/>
              <a:ext cx="540000" cy="540000"/>
              <a:chOff x="2355343" y="977657"/>
              <a:chExt cx="720000" cy="720000"/>
            </a:xfrm>
          </p:grpSpPr>
          <p:sp>
            <p:nvSpPr>
              <p:cNvPr id="43" name="Abgerundetes Rechteck 42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4" name="Freeform 1342">
                <a:extLst>
                  <a:ext uri="{FF2B5EF4-FFF2-40B4-BE49-F238E27FC236}">
                    <a16:creationId xmlns="" xmlns:a16="http://schemas.microsoft.com/office/drawing/2014/main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45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9216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5400000">
              <a:off x="1033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5400000">
              <a:off x="1141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6" name="Gruppieren 35"/>
            <p:cNvGrpSpPr/>
            <p:nvPr/>
          </p:nvGrpSpPr>
          <p:grpSpPr>
            <a:xfrm>
              <a:off x="8640000" y="3240000"/>
              <a:ext cx="540000" cy="540000"/>
              <a:chOff x="755143" y="966771"/>
              <a:chExt cx="720000" cy="720000"/>
            </a:xfrm>
          </p:grpSpPr>
          <p:sp>
            <p:nvSpPr>
              <p:cNvPr id="37" name="Abgerundetes Rechteck 36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8" name="Freeform 1086">
                <a:extLst>
                  <a:ext uri="{FF2B5EF4-FFF2-40B4-BE49-F238E27FC236}">
                    <a16:creationId xmlns=""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32" name="Pfeil nach rechts 31"/>
          <p:cNvSpPr/>
          <p:nvPr/>
        </p:nvSpPr>
        <p:spPr>
          <a:xfrm>
            <a:off x="3396342" y="1121227"/>
            <a:ext cx="2198915" cy="113211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Trainingsprozess</a:t>
            </a:r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3600000" y="2988000"/>
            <a:ext cx="1850572" cy="720000"/>
            <a:chOff x="3600000" y="2988000"/>
            <a:chExt cx="1850572" cy="720000"/>
          </a:xfrm>
        </p:grpSpPr>
        <p:sp>
          <p:nvSpPr>
            <p:cNvPr id="58" name="Pfeil nach rechts 57"/>
            <p:cNvSpPr/>
            <p:nvPr/>
          </p:nvSpPr>
          <p:spPr>
            <a:xfrm>
              <a:off x="3600000" y="3060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8" name="Gruppieren 47"/>
            <p:cNvGrpSpPr/>
            <p:nvPr/>
          </p:nvGrpSpPr>
          <p:grpSpPr>
            <a:xfrm>
              <a:off x="3996000" y="2988000"/>
              <a:ext cx="720000" cy="720000"/>
              <a:chOff x="755143" y="966771"/>
              <a:chExt cx="720000" cy="720000"/>
            </a:xfrm>
          </p:grpSpPr>
          <p:sp>
            <p:nvSpPr>
              <p:cNvPr id="49" name="Abgerundetes Rechteck 48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0" name="Freeform 1086">
                <a:extLst>
                  <a:ext uri="{FF2B5EF4-FFF2-40B4-BE49-F238E27FC236}">
                    <a16:creationId xmlns=""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9" name="Gruppieren 78"/>
          <p:cNvGrpSpPr/>
          <p:nvPr/>
        </p:nvGrpSpPr>
        <p:grpSpPr>
          <a:xfrm>
            <a:off x="3600000" y="4140000"/>
            <a:ext cx="1850572" cy="720000"/>
            <a:chOff x="3600000" y="4140000"/>
            <a:chExt cx="1850572" cy="720000"/>
          </a:xfrm>
        </p:grpSpPr>
        <p:sp>
          <p:nvSpPr>
            <p:cNvPr id="59" name="Pfeil nach rechts 58"/>
            <p:cNvSpPr/>
            <p:nvPr/>
          </p:nvSpPr>
          <p:spPr>
            <a:xfrm>
              <a:off x="3600000" y="4212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56" name="Gruppieren 55"/>
            <p:cNvGrpSpPr/>
            <p:nvPr/>
          </p:nvGrpSpPr>
          <p:grpSpPr>
            <a:xfrm>
              <a:off x="3996000" y="4140000"/>
              <a:ext cx="720000" cy="720000"/>
              <a:chOff x="6588000" y="3240000"/>
              <a:chExt cx="540000" cy="540000"/>
            </a:xfrm>
          </p:grpSpPr>
          <p:sp>
            <p:nvSpPr>
              <p:cNvPr id="52" name="Abgerundetes Rechteck 51"/>
              <p:cNvSpPr/>
              <p:nvPr/>
            </p:nvSpPr>
            <p:spPr>
              <a:xfrm>
                <a:off x="6588000" y="3240000"/>
                <a:ext cx="540000" cy="540000"/>
              </a:xfrm>
              <a:prstGeom prst="roundRect">
                <a:avLst/>
              </a:prstGeom>
              <a:solidFill>
                <a:srgbClr val="E7A60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5" name="Freeform 1413">
                <a:extLst>
                  <a:ext uri="{FF2B5EF4-FFF2-40B4-BE49-F238E27FC236}">
                    <a16:creationId xmlns:a16="http://schemas.microsoft.com/office/drawing/2014/main" xmlns="" id="{52783D1C-FA3C-44C3-AA6B-8756D22E1A2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616468" y="3289317"/>
                <a:ext cx="458906" cy="453171"/>
              </a:xfrm>
              <a:custGeom>
                <a:avLst/>
                <a:gdLst>
                  <a:gd name="T0" fmla="*/ 250 w 501"/>
                  <a:gd name="T1" fmla="*/ 502 h 502"/>
                  <a:gd name="T2" fmla="*/ 0 w 501"/>
                  <a:gd name="T3" fmla="*/ 251 h 502"/>
                  <a:gd name="T4" fmla="*/ 250 w 501"/>
                  <a:gd name="T5" fmla="*/ 0 h 502"/>
                  <a:gd name="T6" fmla="*/ 501 w 501"/>
                  <a:gd name="T7" fmla="*/ 251 h 502"/>
                  <a:gd name="T8" fmla="*/ 250 w 501"/>
                  <a:gd name="T9" fmla="*/ 502 h 502"/>
                  <a:gd name="T10" fmla="*/ 41 w 501"/>
                  <a:gd name="T11" fmla="*/ 251 h 502"/>
                  <a:gd name="T12" fmla="*/ 250 w 501"/>
                  <a:gd name="T13" fmla="*/ 460 h 502"/>
                  <a:gd name="T14" fmla="*/ 460 w 501"/>
                  <a:gd name="T15" fmla="*/ 251 h 502"/>
                  <a:gd name="T16" fmla="*/ 250 w 501"/>
                  <a:gd name="T17" fmla="*/ 42 h 502"/>
                  <a:gd name="T18" fmla="*/ 41 w 501"/>
                  <a:gd name="T19" fmla="*/ 251 h 502"/>
                  <a:gd name="T20" fmla="*/ 314 w 501"/>
                  <a:gd name="T21" fmla="*/ 267 h 502"/>
                  <a:gd name="T22" fmla="*/ 287 w 501"/>
                  <a:gd name="T23" fmla="*/ 293 h 502"/>
                  <a:gd name="T24" fmla="*/ 287 w 501"/>
                  <a:gd name="T25" fmla="*/ 304 h 502"/>
                  <a:gd name="T26" fmla="*/ 277 w 501"/>
                  <a:gd name="T27" fmla="*/ 314 h 502"/>
                  <a:gd name="T28" fmla="*/ 224 w 501"/>
                  <a:gd name="T29" fmla="*/ 314 h 502"/>
                  <a:gd name="T30" fmla="*/ 214 w 501"/>
                  <a:gd name="T31" fmla="*/ 304 h 502"/>
                  <a:gd name="T32" fmla="*/ 214 w 501"/>
                  <a:gd name="T33" fmla="*/ 281 h 502"/>
                  <a:gd name="T34" fmla="*/ 266 w 501"/>
                  <a:gd name="T35" fmla="*/ 218 h 502"/>
                  <a:gd name="T36" fmla="*/ 298 w 501"/>
                  <a:gd name="T37" fmla="*/ 188 h 502"/>
                  <a:gd name="T38" fmla="*/ 252 w 501"/>
                  <a:gd name="T39" fmla="*/ 155 h 502"/>
                  <a:gd name="T40" fmla="*/ 221 w 501"/>
                  <a:gd name="T41" fmla="*/ 164 h 502"/>
                  <a:gd name="T42" fmla="*/ 195 w 501"/>
                  <a:gd name="T43" fmla="*/ 191 h 502"/>
                  <a:gd name="T44" fmla="*/ 187 w 501"/>
                  <a:gd name="T45" fmla="*/ 195 h 502"/>
                  <a:gd name="T46" fmla="*/ 181 w 501"/>
                  <a:gd name="T47" fmla="*/ 193 h 502"/>
                  <a:gd name="T48" fmla="*/ 145 w 501"/>
                  <a:gd name="T49" fmla="*/ 166 h 502"/>
                  <a:gd name="T50" fmla="*/ 143 w 501"/>
                  <a:gd name="T51" fmla="*/ 152 h 502"/>
                  <a:gd name="T52" fmla="*/ 257 w 501"/>
                  <a:gd name="T53" fmla="*/ 89 h 502"/>
                  <a:gd name="T54" fmla="*/ 371 w 501"/>
                  <a:gd name="T55" fmla="*/ 189 h 502"/>
                  <a:gd name="T56" fmla="*/ 314 w 501"/>
                  <a:gd name="T57" fmla="*/ 267 h 502"/>
                  <a:gd name="T58" fmla="*/ 287 w 501"/>
                  <a:gd name="T59" fmla="*/ 403 h 502"/>
                  <a:gd name="T60" fmla="*/ 277 w 501"/>
                  <a:gd name="T61" fmla="*/ 413 h 502"/>
                  <a:gd name="T62" fmla="*/ 224 w 501"/>
                  <a:gd name="T63" fmla="*/ 413 h 502"/>
                  <a:gd name="T64" fmla="*/ 214 w 501"/>
                  <a:gd name="T65" fmla="*/ 403 h 502"/>
                  <a:gd name="T66" fmla="*/ 214 w 501"/>
                  <a:gd name="T67" fmla="*/ 351 h 502"/>
                  <a:gd name="T68" fmla="*/ 224 w 501"/>
                  <a:gd name="T69" fmla="*/ 340 h 502"/>
                  <a:gd name="T70" fmla="*/ 277 w 501"/>
                  <a:gd name="T71" fmla="*/ 340 h 502"/>
                  <a:gd name="T72" fmla="*/ 287 w 501"/>
                  <a:gd name="T73" fmla="*/ 351 h 502"/>
                  <a:gd name="T74" fmla="*/ 287 w 501"/>
                  <a:gd name="T75" fmla="*/ 403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1" h="502">
                    <a:moveTo>
                      <a:pt x="250" y="502"/>
                    </a:moveTo>
                    <a:cubicBezTo>
                      <a:pt x="112" y="502"/>
                      <a:pt x="0" y="390"/>
                      <a:pt x="0" y="251"/>
                    </a:cubicBezTo>
                    <a:cubicBezTo>
                      <a:pt x="0" y="113"/>
                      <a:pt x="112" y="0"/>
                      <a:pt x="250" y="0"/>
                    </a:cubicBezTo>
                    <a:cubicBezTo>
                      <a:pt x="389" y="0"/>
                      <a:pt x="501" y="113"/>
                      <a:pt x="501" y="251"/>
                    </a:cubicBezTo>
                    <a:cubicBezTo>
                      <a:pt x="501" y="390"/>
                      <a:pt x="389" y="502"/>
                      <a:pt x="250" y="502"/>
                    </a:cubicBezTo>
                    <a:close/>
                    <a:moveTo>
                      <a:pt x="41" y="251"/>
                    </a:moveTo>
                    <a:cubicBezTo>
                      <a:pt x="41" y="367"/>
                      <a:pt x="135" y="460"/>
                      <a:pt x="250" y="460"/>
                    </a:cubicBezTo>
                    <a:cubicBezTo>
                      <a:pt x="366" y="460"/>
                      <a:pt x="460" y="367"/>
                      <a:pt x="460" y="251"/>
                    </a:cubicBezTo>
                    <a:cubicBezTo>
                      <a:pt x="460" y="136"/>
                      <a:pt x="366" y="42"/>
                      <a:pt x="250" y="42"/>
                    </a:cubicBezTo>
                    <a:cubicBezTo>
                      <a:pt x="135" y="42"/>
                      <a:pt x="41" y="136"/>
                      <a:pt x="41" y="251"/>
                    </a:cubicBezTo>
                    <a:close/>
                    <a:moveTo>
                      <a:pt x="314" y="267"/>
                    </a:moveTo>
                    <a:cubicBezTo>
                      <a:pt x="298" y="277"/>
                      <a:pt x="287" y="283"/>
                      <a:pt x="287" y="293"/>
                    </a:cubicBezTo>
                    <a:cubicBezTo>
                      <a:pt x="287" y="304"/>
                      <a:pt x="287" y="304"/>
                      <a:pt x="287" y="304"/>
                    </a:cubicBezTo>
                    <a:cubicBezTo>
                      <a:pt x="287" y="309"/>
                      <a:pt x="282" y="314"/>
                      <a:pt x="277" y="314"/>
                    </a:cubicBezTo>
                    <a:cubicBezTo>
                      <a:pt x="224" y="314"/>
                      <a:pt x="224" y="314"/>
                      <a:pt x="224" y="314"/>
                    </a:cubicBezTo>
                    <a:cubicBezTo>
                      <a:pt x="218" y="314"/>
                      <a:pt x="214" y="309"/>
                      <a:pt x="214" y="304"/>
                    </a:cubicBezTo>
                    <a:cubicBezTo>
                      <a:pt x="214" y="281"/>
                      <a:pt x="214" y="281"/>
                      <a:pt x="214" y="281"/>
                    </a:cubicBezTo>
                    <a:cubicBezTo>
                      <a:pt x="214" y="241"/>
                      <a:pt x="243" y="229"/>
                      <a:pt x="266" y="218"/>
                    </a:cubicBezTo>
                    <a:cubicBezTo>
                      <a:pt x="285" y="209"/>
                      <a:pt x="298" y="203"/>
                      <a:pt x="298" y="188"/>
                    </a:cubicBezTo>
                    <a:cubicBezTo>
                      <a:pt x="298" y="169"/>
                      <a:pt x="274" y="155"/>
                      <a:pt x="252" y="155"/>
                    </a:cubicBezTo>
                    <a:cubicBezTo>
                      <a:pt x="241" y="155"/>
                      <a:pt x="229" y="159"/>
                      <a:pt x="221" y="164"/>
                    </a:cubicBezTo>
                    <a:cubicBezTo>
                      <a:pt x="214" y="169"/>
                      <a:pt x="207" y="176"/>
                      <a:pt x="195" y="191"/>
                    </a:cubicBezTo>
                    <a:cubicBezTo>
                      <a:pt x="193" y="194"/>
                      <a:pt x="190" y="195"/>
                      <a:pt x="187" y="195"/>
                    </a:cubicBezTo>
                    <a:cubicBezTo>
                      <a:pt x="184" y="195"/>
                      <a:pt x="182" y="194"/>
                      <a:pt x="181" y="193"/>
                    </a:cubicBezTo>
                    <a:cubicBezTo>
                      <a:pt x="145" y="166"/>
                      <a:pt x="145" y="166"/>
                      <a:pt x="145" y="166"/>
                    </a:cubicBezTo>
                    <a:cubicBezTo>
                      <a:pt x="141" y="163"/>
                      <a:pt x="140" y="157"/>
                      <a:pt x="143" y="152"/>
                    </a:cubicBezTo>
                    <a:cubicBezTo>
                      <a:pt x="170" y="110"/>
                      <a:pt x="207" y="89"/>
                      <a:pt x="257" y="89"/>
                    </a:cubicBezTo>
                    <a:cubicBezTo>
                      <a:pt x="311" y="89"/>
                      <a:pt x="371" y="132"/>
                      <a:pt x="371" y="189"/>
                    </a:cubicBezTo>
                    <a:cubicBezTo>
                      <a:pt x="371" y="235"/>
                      <a:pt x="338" y="253"/>
                      <a:pt x="314" y="267"/>
                    </a:cubicBezTo>
                    <a:close/>
                    <a:moveTo>
                      <a:pt x="287" y="403"/>
                    </a:moveTo>
                    <a:cubicBezTo>
                      <a:pt x="287" y="409"/>
                      <a:pt x="282" y="413"/>
                      <a:pt x="277" y="413"/>
                    </a:cubicBezTo>
                    <a:cubicBezTo>
                      <a:pt x="224" y="413"/>
                      <a:pt x="224" y="413"/>
                      <a:pt x="224" y="413"/>
                    </a:cubicBezTo>
                    <a:cubicBezTo>
                      <a:pt x="218" y="413"/>
                      <a:pt x="214" y="409"/>
                      <a:pt x="214" y="403"/>
                    </a:cubicBezTo>
                    <a:cubicBezTo>
                      <a:pt x="214" y="351"/>
                      <a:pt x="214" y="351"/>
                      <a:pt x="214" y="351"/>
                    </a:cubicBezTo>
                    <a:cubicBezTo>
                      <a:pt x="214" y="345"/>
                      <a:pt x="218" y="340"/>
                      <a:pt x="224" y="340"/>
                    </a:cubicBezTo>
                    <a:cubicBezTo>
                      <a:pt x="277" y="340"/>
                      <a:pt x="277" y="340"/>
                      <a:pt x="277" y="340"/>
                    </a:cubicBezTo>
                    <a:cubicBezTo>
                      <a:pt x="282" y="340"/>
                      <a:pt x="287" y="345"/>
                      <a:pt x="287" y="351"/>
                    </a:cubicBezTo>
                    <a:lnTo>
                      <a:pt x="287" y="4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6" name="Gruppieren 75"/>
          <p:cNvGrpSpPr/>
          <p:nvPr/>
        </p:nvGrpSpPr>
        <p:grpSpPr>
          <a:xfrm>
            <a:off x="6749142" y="1260000"/>
            <a:ext cx="5251626" cy="900000"/>
            <a:chOff x="6639517" y="1188000"/>
            <a:chExt cx="5178340" cy="900000"/>
          </a:xfrm>
        </p:grpSpPr>
        <p:grpSp>
          <p:nvGrpSpPr>
            <p:cNvPr id="69" name="Gruppieren 68"/>
            <p:cNvGrpSpPr/>
            <p:nvPr/>
          </p:nvGrpSpPr>
          <p:grpSpPr>
            <a:xfrm>
              <a:off x="6639517" y="1188000"/>
              <a:ext cx="5178340" cy="900000"/>
              <a:chOff x="1000716" y="2135921"/>
              <a:chExt cx="5178340" cy="794659"/>
            </a:xfrm>
          </p:grpSpPr>
          <p:sp>
            <p:nvSpPr>
              <p:cNvPr id="70" name="Abgerundetes Rechteck 69"/>
              <p:cNvSpPr/>
              <p:nvPr/>
            </p:nvSpPr>
            <p:spPr>
              <a:xfrm>
                <a:off x="3335056" y="2135921"/>
                <a:ext cx="2844000" cy="794659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dirty="0" smtClean="0"/>
                  <a:t>       Bewertungs-</a:t>
                </a:r>
              </a:p>
              <a:p>
                <a:pPr algn="ctr"/>
                <a:r>
                  <a:rPr lang="de-DE" altLang="zh-CN" dirty="0" err="1" smtClean="0"/>
                  <a:t>metriken</a:t>
                </a:r>
                <a:endParaRPr lang="zh-CN" altLang="de-DE" dirty="0" err="1" smtClean="0"/>
              </a:p>
            </p:txBody>
          </p:sp>
          <p:sp>
            <p:nvSpPr>
              <p:cNvPr id="71" name="Freeform 1086">
                <a:extLst>
                  <a:ext uri="{FF2B5EF4-FFF2-40B4-BE49-F238E27FC236}">
                    <a16:creationId xmlns="" xmlns:a16="http://schemas.microsoft.com/office/drawing/2014/main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0716" y="2304000"/>
                <a:ext cx="355501" cy="36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74" name="Gruppieren 73"/>
            <p:cNvGrpSpPr/>
            <p:nvPr/>
          </p:nvGrpSpPr>
          <p:grpSpPr>
            <a:xfrm>
              <a:off x="9094142" y="1335408"/>
              <a:ext cx="684000" cy="648000"/>
              <a:chOff x="7602800" y="1204780"/>
              <a:chExt cx="684000" cy="648000"/>
            </a:xfrm>
          </p:grpSpPr>
          <p:sp>
            <p:nvSpPr>
              <p:cNvPr id="73" name="Abgerundetes Rechteck 72">
                <a:extLst>
                  <a:ext uri="{FF2B5EF4-FFF2-40B4-BE49-F238E27FC236}">
                    <a16:creationId xmlns="" xmlns:a16="http://schemas.microsoft.com/office/drawing/2014/main" id="{EF83F385-5514-954E-BBA6-D28274EA03AD}"/>
                  </a:ext>
                </a:extLst>
              </p:cNvPr>
              <p:cNvSpPr/>
              <p:nvPr/>
            </p:nvSpPr>
            <p:spPr>
              <a:xfrm>
                <a:off x="7602800" y="1204780"/>
                <a:ext cx="684000" cy="648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6" name="Freeform 1002">
                <a:extLst>
                  <a:ext uri="{FF2B5EF4-FFF2-40B4-BE49-F238E27FC236}">
                    <a16:creationId xmlns:a16="http://schemas.microsoft.com/office/drawing/2014/main" xmlns="" id="{6F4BDD2C-16D9-4523-8EA7-8EB69E48F40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670621" y="1325324"/>
                <a:ext cx="527742" cy="418754"/>
              </a:xfrm>
              <a:custGeom>
                <a:avLst/>
                <a:gdLst>
                  <a:gd name="T0" fmla="*/ 540 w 586"/>
                  <a:gd name="T1" fmla="*/ 450 h 460"/>
                  <a:gd name="T2" fmla="*/ 522 w 586"/>
                  <a:gd name="T3" fmla="*/ 460 h 460"/>
                  <a:gd name="T4" fmla="*/ 64 w 586"/>
                  <a:gd name="T5" fmla="*/ 460 h 460"/>
                  <a:gd name="T6" fmla="*/ 46 w 586"/>
                  <a:gd name="T7" fmla="*/ 450 h 460"/>
                  <a:gd name="T8" fmla="*/ 0 w 586"/>
                  <a:gd name="T9" fmla="*/ 293 h 460"/>
                  <a:gd name="T10" fmla="*/ 293 w 586"/>
                  <a:gd name="T11" fmla="*/ 0 h 460"/>
                  <a:gd name="T12" fmla="*/ 586 w 586"/>
                  <a:gd name="T13" fmla="*/ 293 h 460"/>
                  <a:gd name="T14" fmla="*/ 540 w 586"/>
                  <a:gd name="T15" fmla="*/ 450 h 460"/>
                  <a:gd name="T16" fmla="*/ 84 w 586"/>
                  <a:gd name="T17" fmla="*/ 251 h 460"/>
                  <a:gd name="T18" fmla="*/ 42 w 586"/>
                  <a:gd name="T19" fmla="*/ 293 h 460"/>
                  <a:gd name="T20" fmla="*/ 84 w 586"/>
                  <a:gd name="T21" fmla="*/ 334 h 460"/>
                  <a:gd name="T22" fmla="*/ 126 w 586"/>
                  <a:gd name="T23" fmla="*/ 293 h 460"/>
                  <a:gd name="T24" fmla="*/ 84 w 586"/>
                  <a:gd name="T25" fmla="*/ 251 h 460"/>
                  <a:gd name="T26" fmla="*/ 147 w 586"/>
                  <a:gd name="T27" fmla="*/ 104 h 460"/>
                  <a:gd name="T28" fmla="*/ 105 w 586"/>
                  <a:gd name="T29" fmla="*/ 146 h 460"/>
                  <a:gd name="T30" fmla="*/ 147 w 586"/>
                  <a:gd name="T31" fmla="*/ 188 h 460"/>
                  <a:gd name="T32" fmla="*/ 188 w 586"/>
                  <a:gd name="T33" fmla="*/ 146 h 460"/>
                  <a:gd name="T34" fmla="*/ 147 w 586"/>
                  <a:gd name="T35" fmla="*/ 104 h 460"/>
                  <a:gd name="T36" fmla="*/ 361 w 586"/>
                  <a:gd name="T37" fmla="*/ 178 h 460"/>
                  <a:gd name="T38" fmla="*/ 346 w 586"/>
                  <a:gd name="T39" fmla="*/ 153 h 460"/>
                  <a:gd name="T40" fmla="*/ 321 w 586"/>
                  <a:gd name="T41" fmla="*/ 168 h 460"/>
                  <a:gd name="T42" fmla="*/ 288 w 586"/>
                  <a:gd name="T43" fmla="*/ 293 h 460"/>
                  <a:gd name="T44" fmla="*/ 232 w 586"/>
                  <a:gd name="T45" fmla="*/ 339 h 460"/>
                  <a:gd name="T46" fmla="*/ 277 w 586"/>
                  <a:gd name="T47" fmla="*/ 416 h 460"/>
                  <a:gd name="T48" fmla="*/ 354 w 586"/>
                  <a:gd name="T49" fmla="*/ 371 h 460"/>
                  <a:gd name="T50" fmla="*/ 328 w 586"/>
                  <a:gd name="T51" fmla="*/ 303 h 460"/>
                  <a:gd name="T52" fmla="*/ 361 w 586"/>
                  <a:gd name="T53" fmla="*/ 178 h 460"/>
                  <a:gd name="T54" fmla="*/ 293 w 586"/>
                  <a:gd name="T55" fmla="*/ 42 h 460"/>
                  <a:gd name="T56" fmla="*/ 251 w 586"/>
                  <a:gd name="T57" fmla="*/ 83 h 460"/>
                  <a:gd name="T58" fmla="*/ 293 w 586"/>
                  <a:gd name="T59" fmla="*/ 125 h 460"/>
                  <a:gd name="T60" fmla="*/ 335 w 586"/>
                  <a:gd name="T61" fmla="*/ 83 h 460"/>
                  <a:gd name="T62" fmla="*/ 293 w 586"/>
                  <a:gd name="T63" fmla="*/ 42 h 460"/>
                  <a:gd name="T64" fmla="*/ 439 w 586"/>
                  <a:gd name="T65" fmla="*/ 104 h 460"/>
                  <a:gd name="T66" fmla="*/ 398 w 586"/>
                  <a:gd name="T67" fmla="*/ 146 h 460"/>
                  <a:gd name="T68" fmla="*/ 439 w 586"/>
                  <a:gd name="T69" fmla="*/ 188 h 460"/>
                  <a:gd name="T70" fmla="*/ 481 w 586"/>
                  <a:gd name="T71" fmla="*/ 146 h 460"/>
                  <a:gd name="T72" fmla="*/ 439 w 586"/>
                  <a:gd name="T73" fmla="*/ 104 h 460"/>
                  <a:gd name="T74" fmla="*/ 502 w 586"/>
                  <a:gd name="T75" fmla="*/ 251 h 460"/>
                  <a:gd name="T76" fmla="*/ 460 w 586"/>
                  <a:gd name="T77" fmla="*/ 293 h 460"/>
                  <a:gd name="T78" fmla="*/ 502 w 586"/>
                  <a:gd name="T79" fmla="*/ 334 h 460"/>
                  <a:gd name="T80" fmla="*/ 544 w 586"/>
                  <a:gd name="T81" fmla="*/ 293 h 460"/>
                  <a:gd name="T82" fmla="*/ 502 w 586"/>
                  <a:gd name="T83" fmla="*/ 251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86" h="460">
                    <a:moveTo>
                      <a:pt x="540" y="450"/>
                    </a:moveTo>
                    <a:cubicBezTo>
                      <a:pt x="536" y="456"/>
                      <a:pt x="529" y="460"/>
                      <a:pt x="522" y="460"/>
                    </a:cubicBezTo>
                    <a:cubicBezTo>
                      <a:pt x="64" y="460"/>
                      <a:pt x="64" y="460"/>
                      <a:pt x="64" y="460"/>
                    </a:cubicBezTo>
                    <a:cubicBezTo>
                      <a:pt x="57" y="460"/>
                      <a:pt x="50" y="456"/>
                      <a:pt x="46" y="450"/>
                    </a:cubicBezTo>
                    <a:cubicBezTo>
                      <a:pt x="16" y="403"/>
                      <a:pt x="0" y="349"/>
                      <a:pt x="0" y="293"/>
                    </a:cubicBezTo>
                    <a:cubicBezTo>
                      <a:pt x="0" y="131"/>
                      <a:pt x="132" y="0"/>
                      <a:pt x="293" y="0"/>
                    </a:cubicBezTo>
                    <a:cubicBezTo>
                      <a:pt x="454" y="0"/>
                      <a:pt x="586" y="131"/>
                      <a:pt x="586" y="293"/>
                    </a:cubicBezTo>
                    <a:cubicBezTo>
                      <a:pt x="586" y="349"/>
                      <a:pt x="570" y="403"/>
                      <a:pt x="540" y="450"/>
                    </a:cubicBezTo>
                    <a:close/>
                    <a:moveTo>
                      <a:pt x="84" y="251"/>
                    </a:moveTo>
                    <a:cubicBezTo>
                      <a:pt x="61" y="251"/>
                      <a:pt x="42" y="269"/>
                      <a:pt x="42" y="293"/>
                    </a:cubicBezTo>
                    <a:cubicBezTo>
                      <a:pt x="42" y="316"/>
                      <a:pt x="61" y="334"/>
                      <a:pt x="84" y="334"/>
                    </a:cubicBezTo>
                    <a:cubicBezTo>
                      <a:pt x="107" y="334"/>
                      <a:pt x="126" y="316"/>
                      <a:pt x="126" y="293"/>
                    </a:cubicBezTo>
                    <a:cubicBezTo>
                      <a:pt x="126" y="269"/>
                      <a:pt x="107" y="251"/>
                      <a:pt x="84" y="251"/>
                    </a:cubicBezTo>
                    <a:close/>
                    <a:moveTo>
                      <a:pt x="147" y="104"/>
                    </a:moveTo>
                    <a:cubicBezTo>
                      <a:pt x="123" y="104"/>
                      <a:pt x="105" y="123"/>
                      <a:pt x="105" y="146"/>
                    </a:cubicBezTo>
                    <a:cubicBezTo>
                      <a:pt x="105" y="169"/>
                      <a:pt x="123" y="188"/>
                      <a:pt x="147" y="188"/>
                    </a:cubicBezTo>
                    <a:cubicBezTo>
                      <a:pt x="170" y="188"/>
                      <a:pt x="188" y="169"/>
                      <a:pt x="188" y="146"/>
                    </a:cubicBezTo>
                    <a:cubicBezTo>
                      <a:pt x="188" y="123"/>
                      <a:pt x="170" y="104"/>
                      <a:pt x="147" y="104"/>
                    </a:cubicBezTo>
                    <a:close/>
                    <a:moveTo>
                      <a:pt x="361" y="178"/>
                    </a:moveTo>
                    <a:cubicBezTo>
                      <a:pt x="364" y="167"/>
                      <a:pt x="357" y="156"/>
                      <a:pt x="346" y="153"/>
                    </a:cubicBezTo>
                    <a:cubicBezTo>
                      <a:pt x="335" y="150"/>
                      <a:pt x="324" y="157"/>
                      <a:pt x="321" y="168"/>
                    </a:cubicBezTo>
                    <a:cubicBezTo>
                      <a:pt x="288" y="293"/>
                      <a:pt x="288" y="293"/>
                      <a:pt x="288" y="293"/>
                    </a:cubicBezTo>
                    <a:cubicBezTo>
                      <a:pt x="262" y="295"/>
                      <a:pt x="239" y="313"/>
                      <a:pt x="232" y="339"/>
                    </a:cubicBezTo>
                    <a:cubicBezTo>
                      <a:pt x="223" y="373"/>
                      <a:pt x="244" y="407"/>
                      <a:pt x="277" y="416"/>
                    </a:cubicBezTo>
                    <a:cubicBezTo>
                      <a:pt x="311" y="425"/>
                      <a:pt x="345" y="405"/>
                      <a:pt x="354" y="371"/>
                    </a:cubicBezTo>
                    <a:cubicBezTo>
                      <a:pt x="361" y="345"/>
                      <a:pt x="350" y="318"/>
                      <a:pt x="328" y="303"/>
                    </a:cubicBezTo>
                    <a:lnTo>
                      <a:pt x="361" y="178"/>
                    </a:lnTo>
                    <a:close/>
                    <a:moveTo>
                      <a:pt x="293" y="42"/>
                    </a:moveTo>
                    <a:cubicBezTo>
                      <a:pt x="270" y="42"/>
                      <a:pt x="251" y="60"/>
                      <a:pt x="251" y="83"/>
                    </a:cubicBezTo>
                    <a:cubicBezTo>
                      <a:pt x="251" y="107"/>
                      <a:pt x="270" y="125"/>
                      <a:pt x="293" y="125"/>
                    </a:cubicBezTo>
                    <a:cubicBezTo>
                      <a:pt x="316" y="125"/>
                      <a:pt x="335" y="107"/>
                      <a:pt x="335" y="83"/>
                    </a:cubicBezTo>
                    <a:cubicBezTo>
                      <a:pt x="335" y="60"/>
                      <a:pt x="316" y="42"/>
                      <a:pt x="293" y="42"/>
                    </a:cubicBezTo>
                    <a:close/>
                    <a:moveTo>
                      <a:pt x="439" y="104"/>
                    </a:moveTo>
                    <a:cubicBezTo>
                      <a:pt x="416" y="104"/>
                      <a:pt x="398" y="123"/>
                      <a:pt x="398" y="146"/>
                    </a:cubicBezTo>
                    <a:cubicBezTo>
                      <a:pt x="398" y="169"/>
                      <a:pt x="416" y="188"/>
                      <a:pt x="439" y="188"/>
                    </a:cubicBezTo>
                    <a:cubicBezTo>
                      <a:pt x="463" y="188"/>
                      <a:pt x="481" y="169"/>
                      <a:pt x="481" y="146"/>
                    </a:cubicBezTo>
                    <a:cubicBezTo>
                      <a:pt x="481" y="123"/>
                      <a:pt x="463" y="104"/>
                      <a:pt x="439" y="104"/>
                    </a:cubicBezTo>
                    <a:close/>
                    <a:moveTo>
                      <a:pt x="502" y="251"/>
                    </a:moveTo>
                    <a:cubicBezTo>
                      <a:pt x="479" y="251"/>
                      <a:pt x="460" y="269"/>
                      <a:pt x="460" y="293"/>
                    </a:cubicBezTo>
                    <a:cubicBezTo>
                      <a:pt x="460" y="316"/>
                      <a:pt x="479" y="334"/>
                      <a:pt x="502" y="334"/>
                    </a:cubicBezTo>
                    <a:cubicBezTo>
                      <a:pt x="525" y="334"/>
                      <a:pt x="544" y="316"/>
                      <a:pt x="544" y="293"/>
                    </a:cubicBezTo>
                    <a:cubicBezTo>
                      <a:pt x="544" y="269"/>
                      <a:pt x="525" y="251"/>
                      <a:pt x="502" y="25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83" name="Abgerundetes Rechteck 82"/>
          <p:cNvSpPr/>
          <p:nvPr/>
        </p:nvSpPr>
        <p:spPr>
          <a:xfrm>
            <a:off x="5682343" y="1240970"/>
            <a:ext cx="3276600" cy="4201887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6019801" y="1567543"/>
            <a:ext cx="26000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b="1" dirty="0" smtClean="0">
                <a:latin typeface="+mn-lt"/>
              </a:rPr>
              <a:t>Eigenschaften der Modelle</a:t>
            </a:r>
            <a:endParaRPr lang="zh-CN" altLang="de-DE" sz="1600" b="1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32" grpId="0" animBg="1"/>
      <p:bldP spid="83" grpId="0" animBg="1"/>
      <p:bldP spid="8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/>
              <a:t>Use</a:t>
            </a:r>
            <a:r>
              <a:rPr lang="de-DE" altLang="zh-CN" dirty="0"/>
              <a:t> Case – FUBIC </a:t>
            </a:r>
            <a:endParaRPr lang="zh-CN" altLang="de-DE" dirty="0"/>
          </a:p>
        </p:txBody>
      </p:sp>
      <p:pic>
        <p:nvPicPr>
          <p:cNvPr id="4" name="Grafik 3" descr="FUBIC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638" y="2849970"/>
            <a:ext cx="6324181" cy="3000794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397982" y="5878286"/>
            <a:ext cx="66861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/>
              <a:t>Innovationszentrum FUBIC in Dahlem auf dem Campus der Freien </a:t>
            </a:r>
            <a:r>
              <a:rPr lang="de-DE" altLang="zh-CN" sz="1400" dirty="0" smtClean="0"/>
              <a:t>Universität Berlin</a:t>
            </a:r>
            <a:endParaRPr lang="zh-CN" altLang="de-DE" sz="1400" dirty="0"/>
          </a:p>
        </p:txBody>
      </p:sp>
      <p:grpSp>
        <p:nvGrpSpPr>
          <p:cNvPr id="70" name="Gruppieren 69"/>
          <p:cNvGrpSpPr/>
          <p:nvPr/>
        </p:nvGrpSpPr>
        <p:grpSpPr>
          <a:xfrm>
            <a:off x="315083" y="1153887"/>
            <a:ext cx="3277203" cy="1477328"/>
            <a:chOff x="315083" y="1153887"/>
            <a:chExt cx="3277203" cy="1477328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15083" y="1161641"/>
              <a:ext cx="720000" cy="720000"/>
              <a:chOff x="3591682" y="1270499"/>
              <a:chExt cx="720000" cy="720000"/>
            </a:xfrm>
          </p:grpSpPr>
          <p:sp>
            <p:nvSpPr>
              <p:cNvPr id="61" name="Abgerundetes Rechteck 60">
                <a:extLst>
                  <a:ext uri="{FF2B5EF4-FFF2-40B4-BE49-F238E27FC236}">
                    <a16:creationId xmlns="" xmlns:a16="http://schemas.microsoft.com/office/drawing/2014/main" id="{59F8E2B8-E39E-AF48-8FC4-CF3365003D42}"/>
                  </a:ext>
                </a:extLst>
              </p:cNvPr>
              <p:cNvSpPr/>
              <p:nvPr/>
            </p:nvSpPr>
            <p:spPr>
              <a:xfrm>
                <a:off x="3591682" y="1270499"/>
                <a:ext cx="720000" cy="720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Freeform 1207">
                <a:extLst>
                  <a:ext uri="{FF2B5EF4-FFF2-40B4-BE49-F238E27FC236}">
                    <a16:creationId xmlns:a16="http://schemas.microsoft.com/office/drawing/2014/main" xmlns="" id="{673FA9A1-FD5E-4112-BCF0-71DF48956F9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720868" y="1376819"/>
                <a:ext cx="458906" cy="533480"/>
              </a:xfrm>
              <a:custGeom>
                <a:avLst/>
                <a:gdLst>
                  <a:gd name="T0" fmla="*/ 502 w 502"/>
                  <a:gd name="T1" fmla="*/ 84 h 586"/>
                  <a:gd name="T2" fmla="*/ 502 w 502"/>
                  <a:gd name="T3" fmla="*/ 126 h 586"/>
                  <a:gd name="T4" fmla="*/ 251 w 502"/>
                  <a:gd name="T5" fmla="*/ 209 h 586"/>
                  <a:gd name="T6" fmla="*/ 0 w 502"/>
                  <a:gd name="T7" fmla="*/ 126 h 586"/>
                  <a:gd name="T8" fmla="*/ 0 w 502"/>
                  <a:gd name="T9" fmla="*/ 84 h 586"/>
                  <a:gd name="T10" fmla="*/ 251 w 502"/>
                  <a:gd name="T11" fmla="*/ 0 h 586"/>
                  <a:gd name="T12" fmla="*/ 502 w 502"/>
                  <a:gd name="T13" fmla="*/ 84 h 586"/>
                  <a:gd name="T14" fmla="*/ 502 w 502"/>
                  <a:gd name="T15" fmla="*/ 196 h 586"/>
                  <a:gd name="T16" fmla="*/ 502 w 502"/>
                  <a:gd name="T17" fmla="*/ 251 h 586"/>
                  <a:gd name="T18" fmla="*/ 251 w 502"/>
                  <a:gd name="T19" fmla="*/ 335 h 586"/>
                  <a:gd name="T20" fmla="*/ 0 w 502"/>
                  <a:gd name="T21" fmla="*/ 251 h 586"/>
                  <a:gd name="T22" fmla="*/ 0 w 502"/>
                  <a:gd name="T23" fmla="*/ 196 h 586"/>
                  <a:gd name="T24" fmla="*/ 251 w 502"/>
                  <a:gd name="T25" fmla="*/ 251 h 586"/>
                  <a:gd name="T26" fmla="*/ 502 w 502"/>
                  <a:gd name="T27" fmla="*/ 196 h 586"/>
                  <a:gd name="T28" fmla="*/ 502 w 502"/>
                  <a:gd name="T29" fmla="*/ 321 h 586"/>
                  <a:gd name="T30" fmla="*/ 502 w 502"/>
                  <a:gd name="T31" fmla="*/ 377 h 586"/>
                  <a:gd name="T32" fmla="*/ 251 w 502"/>
                  <a:gd name="T33" fmla="*/ 460 h 586"/>
                  <a:gd name="T34" fmla="*/ 0 w 502"/>
                  <a:gd name="T35" fmla="*/ 377 h 586"/>
                  <a:gd name="T36" fmla="*/ 0 w 502"/>
                  <a:gd name="T37" fmla="*/ 321 h 586"/>
                  <a:gd name="T38" fmla="*/ 251 w 502"/>
                  <a:gd name="T39" fmla="*/ 377 h 586"/>
                  <a:gd name="T40" fmla="*/ 502 w 502"/>
                  <a:gd name="T41" fmla="*/ 321 h 586"/>
                  <a:gd name="T42" fmla="*/ 502 w 502"/>
                  <a:gd name="T43" fmla="*/ 447 h 586"/>
                  <a:gd name="T44" fmla="*/ 502 w 502"/>
                  <a:gd name="T45" fmla="*/ 502 h 586"/>
                  <a:gd name="T46" fmla="*/ 251 w 502"/>
                  <a:gd name="T47" fmla="*/ 586 h 586"/>
                  <a:gd name="T48" fmla="*/ 0 w 502"/>
                  <a:gd name="T49" fmla="*/ 502 h 586"/>
                  <a:gd name="T50" fmla="*/ 0 w 502"/>
                  <a:gd name="T51" fmla="*/ 447 h 586"/>
                  <a:gd name="T52" fmla="*/ 251 w 502"/>
                  <a:gd name="T53" fmla="*/ 502 h 586"/>
                  <a:gd name="T54" fmla="*/ 502 w 502"/>
                  <a:gd name="T55" fmla="*/ 447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2" h="586">
                    <a:moveTo>
                      <a:pt x="502" y="84"/>
                    </a:moveTo>
                    <a:cubicBezTo>
                      <a:pt x="502" y="126"/>
                      <a:pt x="502" y="126"/>
                      <a:pt x="502" y="126"/>
                    </a:cubicBezTo>
                    <a:cubicBezTo>
                      <a:pt x="502" y="172"/>
                      <a:pt x="390" y="209"/>
                      <a:pt x="251" y="209"/>
                    </a:cubicBezTo>
                    <a:cubicBezTo>
                      <a:pt x="112" y="209"/>
                      <a:pt x="0" y="172"/>
                      <a:pt x="0" y="126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38"/>
                      <a:pt x="112" y="0"/>
                      <a:pt x="251" y="0"/>
                    </a:cubicBezTo>
                    <a:cubicBezTo>
                      <a:pt x="390" y="0"/>
                      <a:pt x="502" y="38"/>
                      <a:pt x="502" y="84"/>
                    </a:cubicBezTo>
                    <a:close/>
                    <a:moveTo>
                      <a:pt x="502" y="196"/>
                    </a:moveTo>
                    <a:cubicBezTo>
                      <a:pt x="502" y="251"/>
                      <a:pt x="502" y="251"/>
                      <a:pt x="502" y="251"/>
                    </a:cubicBezTo>
                    <a:cubicBezTo>
                      <a:pt x="502" y="297"/>
                      <a:pt x="390" y="335"/>
                      <a:pt x="251" y="335"/>
                    </a:cubicBezTo>
                    <a:cubicBezTo>
                      <a:pt x="112" y="335"/>
                      <a:pt x="0" y="297"/>
                      <a:pt x="0" y="251"/>
                    </a:cubicBezTo>
                    <a:cubicBezTo>
                      <a:pt x="0" y="196"/>
                      <a:pt x="0" y="196"/>
                      <a:pt x="0" y="196"/>
                    </a:cubicBezTo>
                    <a:cubicBezTo>
                      <a:pt x="54" y="234"/>
                      <a:pt x="153" y="251"/>
                      <a:pt x="251" y="251"/>
                    </a:cubicBezTo>
                    <a:cubicBezTo>
                      <a:pt x="349" y="251"/>
                      <a:pt x="448" y="234"/>
                      <a:pt x="502" y="196"/>
                    </a:cubicBezTo>
                    <a:close/>
                    <a:moveTo>
                      <a:pt x="502" y="321"/>
                    </a:moveTo>
                    <a:cubicBezTo>
                      <a:pt x="502" y="377"/>
                      <a:pt x="502" y="377"/>
                      <a:pt x="502" y="377"/>
                    </a:cubicBezTo>
                    <a:cubicBezTo>
                      <a:pt x="502" y="423"/>
                      <a:pt x="390" y="460"/>
                      <a:pt x="251" y="460"/>
                    </a:cubicBezTo>
                    <a:cubicBezTo>
                      <a:pt x="112" y="460"/>
                      <a:pt x="0" y="423"/>
                      <a:pt x="0" y="377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54" y="359"/>
                      <a:pt x="153" y="377"/>
                      <a:pt x="251" y="377"/>
                    </a:cubicBezTo>
                    <a:cubicBezTo>
                      <a:pt x="349" y="377"/>
                      <a:pt x="448" y="359"/>
                      <a:pt x="502" y="321"/>
                    </a:cubicBezTo>
                    <a:close/>
                    <a:moveTo>
                      <a:pt x="502" y="447"/>
                    </a:moveTo>
                    <a:cubicBezTo>
                      <a:pt x="502" y="502"/>
                      <a:pt x="502" y="502"/>
                      <a:pt x="502" y="502"/>
                    </a:cubicBezTo>
                    <a:cubicBezTo>
                      <a:pt x="502" y="548"/>
                      <a:pt x="390" y="586"/>
                      <a:pt x="251" y="586"/>
                    </a:cubicBezTo>
                    <a:cubicBezTo>
                      <a:pt x="112" y="586"/>
                      <a:pt x="0" y="548"/>
                      <a:pt x="0" y="502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54" y="485"/>
                      <a:pt x="153" y="502"/>
                      <a:pt x="251" y="502"/>
                    </a:cubicBezTo>
                    <a:cubicBezTo>
                      <a:pt x="349" y="502"/>
                      <a:pt x="448" y="485"/>
                      <a:pt x="502" y="4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63" name="Textfeld 62"/>
            <p:cNvSpPr txBox="1"/>
            <p:nvPr/>
          </p:nvSpPr>
          <p:spPr>
            <a:xfrm>
              <a:off x="1077686" y="1153887"/>
              <a:ext cx="2514600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Auflösung :15 Minuten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Dauer: 1 Jahr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15 Features : PV-Strom, Strombedarf</a:t>
              </a:r>
              <a:endParaRPr lang="zh-CN" altLang="de-DE" sz="1400" dirty="0" smtClean="0"/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7541154" y="798287"/>
            <a:ext cx="4226302" cy="5285538"/>
            <a:chOff x="7541154" y="798287"/>
            <a:chExt cx="4226302" cy="5285538"/>
          </a:xfrm>
        </p:grpSpPr>
        <p:sp>
          <p:nvSpPr>
            <p:cNvPr id="8" name="Abgerundetes Rechteck 7">
              <a:extLst>
                <a:ext uri="{FF2B5EF4-FFF2-40B4-BE49-F238E27FC236}">
                  <a16:creationId xmlns="" xmlns:a16="http://schemas.microsoft.com/office/drawing/2014/main" id="{E3B303EA-36D1-274A-94B5-0B7F3409E01C}"/>
                </a:ext>
              </a:extLst>
            </p:cNvPr>
            <p:cNvSpPr/>
            <p:nvPr/>
          </p:nvSpPr>
          <p:spPr>
            <a:xfrm>
              <a:off x="7728857" y="798287"/>
              <a:ext cx="4038599" cy="5032002"/>
            </a:xfrm>
            <a:prstGeom prst="roundRect">
              <a:avLst>
                <a:gd name="adj" fmla="val 5985"/>
              </a:avLst>
            </a:prstGeom>
            <a:solidFill>
              <a:schemeClr val="accent4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68" name="Gruppieren 67"/>
            <p:cNvGrpSpPr/>
            <p:nvPr/>
          </p:nvGrpSpPr>
          <p:grpSpPr>
            <a:xfrm>
              <a:off x="7541154" y="932245"/>
              <a:ext cx="3978653" cy="5151580"/>
              <a:chOff x="7541154" y="932245"/>
              <a:chExt cx="3978653" cy="5151580"/>
            </a:xfrm>
          </p:grpSpPr>
          <p:sp>
            <p:nvSpPr>
              <p:cNvPr id="67" name="Abgerundetes Rechteck 66">
                <a:extLst>
                  <a:ext uri="{FF2B5EF4-FFF2-40B4-BE49-F238E27FC236}">
                    <a16:creationId xmlns="" xmlns:a16="http://schemas.microsoft.com/office/drawing/2014/main" id="{B914E147-3FA9-954A-82DD-6E31C1EE0650}"/>
                  </a:ext>
                </a:extLst>
              </p:cNvPr>
              <p:cNvSpPr/>
              <p:nvPr/>
            </p:nvSpPr>
            <p:spPr>
              <a:xfrm>
                <a:off x="7943803" y="2304331"/>
                <a:ext cx="720000" cy="720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9" name="Gruppieren 29">
                <a:extLst>
                  <a:ext uri="{FF2B5EF4-FFF2-40B4-BE49-F238E27FC236}">
                    <a16:creationId xmlns="" xmlns:a16="http://schemas.microsoft.com/office/drawing/2014/main" id="{38E6FEA0-311C-0448-92B5-47C75CFD978C}"/>
                  </a:ext>
                </a:extLst>
              </p:cNvPr>
              <p:cNvGrpSpPr/>
              <p:nvPr/>
            </p:nvGrpSpPr>
            <p:grpSpPr>
              <a:xfrm>
                <a:off x="9337175" y="4710074"/>
                <a:ext cx="720000" cy="720000"/>
                <a:chOff x="5832370" y="3175285"/>
                <a:chExt cx="671332" cy="659757"/>
              </a:xfrm>
            </p:grpSpPr>
            <p:sp>
              <p:nvSpPr>
                <p:cNvPr id="47" name="Abgerundetes Rechteck 46">
                  <a:extLst>
                    <a:ext uri="{FF2B5EF4-FFF2-40B4-BE49-F238E27FC236}">
                      <a16:creationId xmlns="" xmlns:a16="http://schemas.microsoft.com/office/drawing/2014/main" id="{B914E147-3FA9-954A-82DD-6E31C1EE0650}"/>
                    </a:ext>
                  </a:extLst>
                </p:cNvPr>
                <p:cNvSpPr/>
                <p:nvPr/>
              </p:nvSpPr>
              <p:spPr>
                <a:xfrm>
                  <a:off x="5832370" y="317528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8" name="Grafik 26">
                  <a:extLst>
                    <a:ext uri="{FF2B5EF4-FFF2-40B4-BE49-F238E27FC236}">
                      <a16:creationId xmlns="" xmlns:a16="http://schemas.microsoft.com/office/drawing/2014/main" id="{ABD410D6-5F8E-324A-954D-03B23D76B9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10272" y="3231833"/>
                  <a:ext cx="535956" cy="531581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uppieren 30">
                <a:extLst>
                  <a:ext uri="{FF2B5EF4-FFF2-40B4-BE49-F238E27FC236}">
                    <a16:creationId xmlns="" xmlns:a16="http://schemas.microsoft.com/office/drawing/2014/main" id="{3F652237-F231-0442-9859-0653FAC39A00}"/>
                  </a:ext>
                </a:extLst>
              </p:cNvPr>
              <p:cNvGrpSpPr/>
              <p:nvPr/>
            </p:nvGrpSpPr>
            <p:grpSpPr>
              <a:xfrm>
                <a:off x="9336680" y="1227496"/>
                <a:ext cx="720000" cy="720000"/>
                <a:chOff x="7994642" y="4332258"/>
                <a:chExt cx="671332" cy="659757"/>
              </a:xfrm>
            </p:grpSpPr>
            <p:sp>
              <p:nvSpPr>
                <p:cNvPr id="45" name="Abgerundetes Rechteck 44">
                  <a:extLst>
                    <a:ext uri="{FF2B5EF4-FFF2-40B4-BE49-F238E27FC236}">
                      <a16:creationId xmlns="" xmlns:a16="http://schemas.microsoft.com/office/drawing/2014/main" id="{62797F4E-ADA2-D44E-A155-2875FC6BFFE7}"/>
                    </a:ext>
                  </a:extLst>
                </p:cNvPr>
                <p:cNvSpPr/>
                <p:nvPr/>
              </p:nvSpPr>
              <p:spPr>
                <a:xfrm>
                  <a:off x="7994642" y="4332258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6" name="Grafik 45">
                  <a:extLst>
                    <a:ext uri="{FF2B5EF4-FFF2-40B4-BE49-F238E27FC236}">
                      <a16:creationId xmlns="" xmlns:a16="http://schemas.microsoft.com/office/drawing/2014/main" id="{53804797-8CDA-FC4C-815A-A1BCD8D9E6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flipH="1">
                  <a:off x="8046073" y="4377901"/>
                  <a:ext cx="568469" cy="568469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uppieren 36">
                <a:extLst>
                  <a:ext uri="{FF2B5EF4-FFF2-40B4-BE49-F238E27FC236}">
                    <a16:creationId xmlns="" xmlns:a16="http://schemas.microsoft.com/office/drawing/2014/main" id="{07434856-A8D8-7F4E-A156-57B3E24B8F98}"/>
                  </a:ext>
                </a:extLst>
              </p:cNvPr>
              <p:cNvGrpSpPr/>
              <p:nvPr/>
            </p:nvGrpSpPr>
            <p:grpSpPr>
              <a:xfrm>
                <a:off x="8011593" y="2397061"/>
                <a:ext cx="588742" cy="488593"/>
                <a:chOff x="5107756" y="3315702"/>
                <a:chExt cx="548946" cy="447712"/>
              </a:xfrm>
            </p:grpSpPr>
            <p:sp>
              <p:nvSpPr>
                <p:cNvPr id="38" name="Abgerundetes Rechteck 37">
                  <a:extLst>
                    <a:ext uri="{FF2B5EF4-FFF2-40B4-BE49-F238E27FC236}">
                      <a16:creationId xmlns="" xmlns:a16="http://schemas.microsoft.com/office/drawing/2014/main" id="{B31709E3-CFA1-B248-889E-B7654590D537}"/>
                    </a:ext>
                  </a:extLst>
                </p:cNvPr>
                <p:cNvSpPr/>
                <p:nvPr/>
              </p:nvSpPr>
              <p:spPr>
                <a:xfrm>
                  <a:off x="5107756" y="3408432"/>
                  <a:ext cx="548946" cy="354982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39" name="Abgerundetes Rechteck 38">
                  <a:extLst>
                    <a:ext uri="{FF2B5EF4-FFF2-40B4-BE49-F238E27FC236}">
                      <a16:creationId xmlns="" xmlns:a16="http://schemas.microsoft.com/office/drawing/2014/main" id="{6988F0D9-52CE-6542-9FBB-CFF3DD44439D}"/>
                    </a:ext>
                  </a:extLst>
                </p:cNvPr>
                <p:cNvSpPr/>
                <p:nvPr/>
              </p:nvSpPr>
              <p:spPr>
                <a:xfrm>
                  <a:off x="5197033" y="3320971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0" name="Abgerundetes Rechteck 39">
                  <a:extLst>
                    <a:ext uri="{FF2B5EF4-FFF2-40B4-BE49-F238E27FC236}">
                      <a16:creationId xmlns="" xmlns:a16="http://schemas.microsoft.com/office/drawing/2014/main" id="{CA2CD963-B477-FD40-9334-58DF3C84629D}"/>
                    </a:ext>
                  </a:extLst>
                </p:cNvPr>
                <p:cNvSpPr/>
                <p:nvPr/>
              </p:nvSpPr>
              <p:spPr>
                <a:xfrm>
                  <a:off x="5417919" y="3315702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1" name="Rechteck 40">
                  <a:extLst>
                    <a:ext uri="{FF2B5EF4-FFF2-40B4-BE49-F238E27FC236}">
                      <a16:creationId xmlns="" xmlns:a16="http://schemas.microsoft.com/office/drawing/2014/main" id="{897A3665-8DCC-8A4C-9286-5EE276D82B65}"/>
                    </a:ext>
                  </a:extLst>
                </p:cNvPr>
                <p:cNvSpPr/>
                <p:nvPr/>
              </p:nvSpPr>
              <p:spPr>
                <a:xfrm>
                  <a:off x="5400874" y="3498647"/>
                  <a:ext cx="197433" cy="17749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+</a:t>
                  </a:r>
                </a:p>
              </p:txBody>
            </p:sp>
            <p:sp>
              <p:nvSpPr>
                <p:cNvPr id="42" name="Rechteck 41">
                  <a:extLst>
                    <a:ext uri="{FF2B5EF4-FFF2-40B4-BE49-F238E27FC236}">
                      <a16:creationId xmlns="" xmlns:a16="http://schemas.microsoft.com/office/drawing/2014/main" id="{AEDAFAFF-5414-4C46-8B81-1B404147C4DE}"/>
                    </a:ext>
                  </a:extLst>
                </p:cNvPr>
                <p:cNvSpPr/>
                <p:nvPr/>
              </p:nvSpPr>
              <p:spPr>
                <a:xfrm>
                  <a:off x="5161126" y="3429000"/>
                  <a:ext cx="186378" cy="9147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_</a:t>
                  </a:r>
                </a:p>
              </p:txBody>
            </p:sp>
          </p:grpSp>
          <p:cxnSp>
            <p:nvCxnSpPr>
              <p:cNvPr id="13" name="Gerade Verbindung 12">
                <a:extLst>
                  <a:ext uri="{FF2B5EF4-FFF2-40B4-BE49-F238E27FC236}">
                    <a16:creationId xmlns="" xmlns:a16="http://schemas.microsoft.com/office/drawing/2014/main" id="{84353279-4DFE-3D44-BF8D-5F6F5F7F3659}"/>
                  </a:ext>
                </a:extLst>
              </p:cNvPr>
              <p:cNvCxnSpPr>
                <a:cxnSpLocks/>
                <a:stCxn id="45" idx="2"/>
                <a:endCxn id="47" idx="0"/>
              </p:cNvCxnSpPr>
              <p:nvPr/>
            </p:nvCxnSpPr>
            <p:spPr>
              <a:xfrm>
                <a:off x="9696680" y="1947496"/>
                <a:ext cx="495" cy="2762578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13">
                <a:extLst>
                  <a:ext uri="{FF2B5EF4-FFF2-40B4-BE49-F238E27FC236}">
                    <a16:creationId xmlns="" xmlns:a16="http://schemas.microsoft.com/office/drawing/2014/main" id="{680DAD13-66D1-D54D-A106-CE41B89884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76847" y="2664644"/>
                <a:ext cx="1041762" cy="0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15">
                <a:extLst>
                  <a:ext uri="{FF2B5EF4-FFF2-40B4-BE49-F238E27FC236}">
                    <a16:creationId xmlns="" xmlns:a16="http://schemas.microsoft.com/office/drawing/2014/main" id="{71C22C7E-D5F4-7B45-A7E2-D6F062C540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6680" y="3240585"/>
                <a:ext cx="877922" cy="11481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winkliges Dreieck 16">
                <a:extLst>
                  <a:ext uri="{FF2B5EF4-FFF2-40B4-BE49-F238E27FC236}">
                    <a16:creationId xmlns="" xmlns:a16="http://schemas.microsoft.com/office/drawing/2014/main" id="{66561324-8DF1-884D-BEAE-0F7319BEFCF4}"/>
                  </a:ext>
                </a:extLst>
              </p:cNvPr>
              <p:cNvSpPr/>
              <p:nvPr/>
            </p:nvSpPr>
            <p:spPr>
              <a:xfrm rot="13488207">
                <a:off x="9091079" y="2553032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Rechtwinkliges Dreieck 17">
                <a:extLst>
                  <a:ext uri="{FF2B5EF4-FFF2-40B4-BE49-F238E27FC236}">
                    <a16:creationId xmlns="" xmlns:a16="http://schemas.microsoft.com/office/drawing/2014/main" id="{584615D5-CB68-FB4F-83D0-AA38F38E5EB2}"/>
                  </a:ext>
                </a:extLst>
              </p:cNvPr>
              <p:cNvSpPr/>
              <p:nvPr/>
            </p:nvSpPr>
            <p:spPr>
              <a:xfrm rot="2711063">
                <a:off x="9036592" y="255144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Rechtwinkliges Dreieck 20">
                <a:extLst>
                  <a:ext uri="{FF2B5EF4-FFF2-40B4-BE49-F238E27FC236}">
                    <a16:creationId xmlns="" xmlns:a16="http://schemas.microsoft.com/office/drawing/2014/main" id="{6C864756-512F-684E-B18D-D06D5FAB9D2E}"/>
                  </a:ext>
                </a:extLst>
              </p:cNvPr>
              <p:cNvSpPr/>
              <p:nvPr/>
            </p:nvSpPr>
            <p:spPr>
              <a:xfrm rot="18947832">
                <a:off x="9588679" y="2023534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Rechtwinkliges Dreieck 21">
                <a:extLst>
                  <a:ext uri="{FF2B5EF4-FFF2-40B4-BE49-F238E27FC236}">
                    <a16:creationId xmlns="" xmlns:a16="http://schemas.microsoft.com/office/drawing/2014/main" id="{484941A5-4F31-6D49-83DA-D129B919A78D}"/>
                  </a:ext>
                </a:extLst>
              </p:cNvPr>
              <p:cNvSpPr/>
              <p:nvPr/>
            </p:nvSpPr>
            <p:spPr>
              <a:xfrm rot="18947832">
                <a:off x="9601380" y="4221976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Rechtwinkliges Dreieck 22">
                <a:extLst>
                  <a:ext uri="{FF2B5EF4-FFF2-40B4-BE49-F238E27FC236}">
                    <a16:creationId xmlns="" xmlns:a16="http://schemas.microsoft.com/office/drawing/2014/main" id="{EC0E910D-0DFC-A24F-BD4E-69390BF1D1B0}"/>
                  </a:ext>
                </a:extLst>
              </p:cNvPr>
              <p:cNvSpPr/>
              <p:nvPr/>
            </p:nvSpPr>
            <p:spPr>
              <a:xfrm rot="8084163">
                <a:off x="9601393" y="4178331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00"/>
              </a:p>
            </p:txBody>
          </p:sp>
          <p:sp>
            <p:nvSpPr>
              <p:cNvPr id="24" name="Rechtwinkliges Dreieck 23">
                <a:extLst>
                  <a:ext uri="{FF2B5EF4-FFF2-40B4-BE49-F238E27FC236}">
                    <a16:creationId xmlns="" xmlns:a16="http://schemas.microsoft.com/office/drawing/2014/main" id="{3C5B94B5-0123-3543-9F64-3D96162FFA7F}"/>
                  </a:ext>
                </a:extLst>
              </p:cNvPr>
              <p:cNvSpPr/>
              <p:nvPr/>
            </p:nvSpPr>
            <p:spPr>
              <a:xfrm rot="13488207">
                <a:off x="10110479" y="312759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25" name="Gruppieren 72">
                <a:extLst>
                  <a:ext uri="{FF2B5EF4-FFF2-40B4-BE49-F238E27FC236}">
                    <a16:creationId xmlns="" xmlns:a16="http://schemas.microsoft.com/office/drawing/2014/main" id="{CFD735F9-AB46-5642-B495-2837D8624B30}"/>
                  </a:ext>
                </a:extLst>
              </p:cNvPr>
              <p:cNvGrpSpPr/>
              <p:nvPr/>
            </p:nvGrpSpPr>
            <p:grpSpPr>
              <a:xfrm>
                <a:off x="10574602" y="2892067"/>
                <a:ext cx="720000" cy="720000"/>
                <a:chOff x="7939047" y="2521015"/>
                <a:chExt cx="671332" cy="659757"/>
              </a:xfrm>
            </p:grpSpPr>
            <p:sp>
              <p:nvSpPr>
                <p:cNvPr id="31" name="Abgerundetes Rechteck 30">
                  <a:extLst>
                    <a:ext uri="{FF2B5EF4-FFF2-40B4-BE49-F238E27FC236}">
                      <a16:creationId xmlns="" xmlns:a16="http://schemas.microsoft.com/office/drawing/2014/main" id="{EF83F385-5514-954E-BBA6-D28274EA03AD}"/>
                    </a:ext>
                  </a:extLst>
                </p:cNvPr>
                <p:cNvSpPr/>
                <p:nvPr/>
              </p:nvSpPr>
              <p:spPr>
                <a:xfrm>
                  <a:off x="7939047" y="252101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grpSp>
              <p:nvGrpSpPr>
                <p:cNvPr id="32" name="Gruppieren 71">
                  <a:extLst>
                    <a:ext uri="{FF2B5EF4-FFF2-40B4-BE49-F238E27FC236}">
                      <a16:creationId xmlns="" xmlns:a16="http://schemas.microsoft.com/office/drawing/2014/main" id="{4A92FB97-85E8-C340-BB1D-B44CB699E086}"/>
                    </a:ext>
                  </a:extLst>
                </p:cNvPr>
                <p:cNvGrpSpPr/>
                <p:nvPr/>
              </p:nvGrpSpPr>
              <p:grpSpPr>
                <a:xfrm>
                  <a:off x="8040713" y="2616893"/>
                  <a:ext cx="468000" cy="483059"/>
                  <a:chOff x="8040713" y="2616893"/>
                  <a:chExt cx="468000" cy="483059"/>
                </a:xfrm>
              </p:grpSpPr>
              <p:sp>
                <p:nvSpPr>
                  <p:cNvPr id="33" name="Oval 67">
                    <a:extLst>
                      <a:ext uri="{FF2B5EF4-FFF2-40B4-BE49-F238E27FC236}">
                        <a16:creationId xmlns="" xmlns:a16="http://schemas.microsoft.com/office/drawing/2014/main" id="{D2956475-C0A4-8A41-BE7F-574875722EB5}"/>
                      </a:ext>
                    </a:extLst>
                  </p:cNvPr>
                  <p:cNvSpPr/>
                  <p:nvPr/>
                </p:nvSpPr>
                <p:spPr>
                  <a:xfrm>
                    <a:off x="8040713" y="2616893"/>
                    <a:ext cx="468000" cy="468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34" name="Oval 68">
                    <a:extLst>
                      <a:ext uri="{FF2B5EF4-FFF2-40B4-BE49-F238E27FC236}">
                        <a16:creationId xmlns="" xmlns:a16="http://schemas.microsoft.com/office/drawing/2014/main" id="{0E277EC6-2E2D-7C45-A95A-94A361BEFD6B}"/>
                      </a:ext>
                    </a:extLst>
                  </p:cNvPr>
                  <p:cNvSpPr/>
                  <p:nvPr/>
                </p:nvSpPr>
                <p:spPr>
                  <a:xfrm>
                    <a:off x="8112713" y="2688893"/>
                    <a:ext cx="324000" cy="324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endParaRPr lang="de-DE" sz="12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" name="Textfeld 34">
                    <a:extLst>
                      <a:ext uri="{FF2B5EF4-FFF2-40B4-BE49-F238E27FC236}">
                        <a16:creationId xmlns="" xmlns:a16="http://schemas.microsoft.com/office/drawing/2014/main" id="{03F859A7-DE4F-0A4F-A765-037B8776F415}"/>
                      </a:ext>
                    </a:extLst>
                  </p:cNvPr>
                  <p:cNvSpPr txBox="1"/>
                  <p:nvPr/>
                </p:nvSpPr>
                <p:spPr>
                  <a:xfrm>
                    <a:off x="8177722" y="2731439"/>
                    <a:ext cx="254534" cy="16921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de-DE" sz="1200" b="1" dirty="0"/>
                      <a:t>AC</a:t>
                    </a:r>
                    <a:endParaRPr lang="de-DE" sz="1000" dirty="0"/>
                  </a:p>
                </p:txBody>
              </p:sp>
              <p:sp>
                <p:nvSpPr>
                  <p:cNvPr id="36" name="Textfeld 35">
                    <a:extLst>
                      <a:ext uri="{FF2B5EF4-FFF2-40B4-BE49-F238E27FC236}">
                        <a16:creationId xmlns="" xmlns:a16="http://schemas.microsoft.com/office/drawing/2014/main" id="{A0CCCA4B-24B4-4C42-8921-A48D4E61402B}"/>
                      </a:ext>
                    </a:extLst>
                  </p:cNvPr>
                  <p:cNvSpPr txBox="1"/>
                  <p:nvPr/>
                </p:nvSpPr>
                <p:spPr>
                  <a:xfrm>
                    <a:off x="8121360" y="2792175"/>
                    <a:ext cx="30357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/>
                    <a:r>
                      <a:rPr lang="de-DE" sz="2000" dirty="0"/>
                      <a:t>~</a:t>
                    </a:r>
                  </a:p>
                </p:txBody>
              </p:sp>
            </p:grpSp>
          </p:grpSp>
          <p:sp>
            <p:nvSpPr>
              <p:cNvPr id="26" name="Textfeld 25">
                <a:extLst>
                  <a:ext uri="{FF2B5EF4-FFF2-40B4-BE49-F238E27FC236}">
                    <a16:creationId xmlns="" xmlns:a16="http://schemas.microsoft.com/office/drawing/2014/main" id="{AD4920C5-8D42-AD4D-AA79-56C24D373E67}"/>
                  </a:ext>
                </a:extLst>
              </p:cNvPr>
              <p:cNvSpPr txBox="1"/>
              <p:nvPr/>
            </p:nvSpPr>
            <p:spPr>
              <a:xfrm>
                <a:off x="9522825" y="932245"/>
                <a:ext cx="30484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PV</a:t>
                </a:r>
              </a:p>
            </p:txBody>
          </p:sp>
          <p:sp>
            <p:nvSpPr>
              <p:cNvPr id="27" name="Textfeld 26">
                <a:extLst>
                  <a:ext uri="{FF2B5EF4-FFF2-40B4-BE49-F238E27FC236}">
                    <a16:creationId xmlns="" xmlns:a16="http://schemas.microsoft.com/office/drawing/2014/main" id="{7775B82F-1BDA-A244-8C1F-F933C8869923}"/>
                  </a:ext>
                </a:extLst>
              </p:cNvPr>
              <p:cNvSpPr txBox="1"/>
              <p:nvPr/>
            </p:nvSpPr>
            <p:spPr>
              <a:xfrm>
                <a:off x="10574602" y="2319767"/>
                <a:ext cx="747435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Strom- bedarf</a:t>
                </a: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="" xmlns:a16="http://schemas.microsoft.com/office/drawing/2014/main" id="{46A990CA-AADE-634C-A025-AD10293166AB}"/>
                  </a:ext>
                </a:extLst>
              </p:cNvPr>
              <p:cNvSpPr txBox="1"/>
              <p:nvPr/>
            </p:nvSpPr>
            <p:spPr>
              <a:xfrm>
                <a:off x="7972008" y="1974540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Batterie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="" xmlns:a16="http://schemas.microsoft.com/office/drawing/2014/main" id="{109DD20E-504B-D443-9B9F-0FC7F245BB63}"/>
                  </a:ext>
                </a:extLst>
              </p:cNvPr>
              <p:cNvSpPr txBox="1"/>
              <p:nvPr/>
            </p:nvSpPr>
            <p:spPr>
              <a:xfrm>
                <a:off x="9231999" y="5491785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e-DE" sz="1600" b="1" dirty="0"/>
                  <a:t>Netz</a:t>
                </a:r>
              </a:p>
            </p:txBody>
          </p:sp>
          <p:sp>
            <p:nvSpPr>
              <p:cNvPr id="49" name="Textfeld 5">
                <a:extLst>
                  <a:ext uri="{FF2B5EF4-FFF2-40B4-BE49-F238E27FC236}">
                    <a16:creationId xmlns="" xmlns:a16="http://schemas.microsoft.com/office/drawing/2014/main" id="{96E0BC1C-5B73-4729-8293-7A6EC28D757A}"/>
                  </a:ext>
                </a:extLst>
              </p:cNvPr>
              <p:cNvSpPr txBox="1"/>
              <p:nvPr/>
            </p:nvSpPr>
            <p:spPr>
              <a:xfrm>
                <a:off x="7541154" y="5914548"/>
                <a:ext cx="3978653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de-DE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GB" sz="1100" i="1" dirty="0" err="1" smtClean="0">
                    <a:solidFill>
                      <a:schemeClr val="bg2"/>
                    </a:solidFill>
                  </a:rPr>
                  <a:t>Quelle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: “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Betriebsoptimierung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 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mittels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 MPC” </a:t>
                </a:r>
                <a:r>
                  <a:rPr lang="en-GB" sz="1100" i="1" dirty="0">
                    <a:solidFill>
                      <a:schemeClr val="bg2"/>
                    </a:solidFill>
                  </a:rPr>
                  <a:t>(</a:t>
                </a:r>
                <a:r>
                  <a:rPr lang="en-GB" sz="1100" i="1" dirty="0" smtClean="0">
                    <a:solidFill>
                      <a:schemeClr val="bg2"/>
                    </a:solidFill>
                  </a:rPr>
                  <a:t>2020), Larissa </a:t>
                </a:r>
                <a:r>
                  <a:rPr lang="en-GB" sz="1100" i="1" dirty="0" err="1" smtClean="0">
                    <a:solidFill>
                      <a:schemeClr val="bg2"/>
                    </a:solidFill>
                  </a:rPr>
                  <a:t>Kühn</a:t>
                </a:r>
                <a:endParaRPr lang="en-GB" sz="1400" i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>
              <a:xfrm>
                <a:off x="7696199" y="3094949"/>
                <a:ext cx="2253343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de-DE" altLang="zh-CN" sz="1600" dirty="0" smtClean="0"/>
                  <a:t>Kapazität : 625 </a:t>
                </a:r>
                <a:r>
                  <a:rPr lang="de-DE" altLang="zh-CN" sz="1600" dirty="0" err="1" smtClean="0"/>
                  <a:t>kWh</a:t>
                </a:r>
                <a:endParaRPr lang="de-DE" altLang="zh-CN" sz="1600" dirty="0" smtClean="0"/>
              </a:p>
              <a:p>
                <a:r>
                  <a:rPr lang="de-DE" altLang="zh-CN" sz="1600" dirty="0" smtClean="0"/>
                  <a:t>Leistung :  625 </a:t>
                </a:r>
                <a:r>
                  <a:rPr lang="de-DE" altLang="zh-CN" sz="1600" dirty="0" err="1" smtClean="0"/>
                  <a:t>kW</a:t>
                </a:r>
                <a:endParaRPr lang="zh-CN" altLang="de-DE" sz="1600" dirty="0" smtClean="0"/>
              </a:p>
            </p:txBody>
          </p:sp>
          <p:sp>
            <p:nvSpPr>
              <p:cNvPr id="52" name="Textfeld 51"/>
              <p:cNvSpPr txBox="1"/>
              <p:nvPr/>
            </p:nvSpPr>
            <p:spPr>
              <a:xfrm>
                <a:off x="9862804" y="3690257"/>
                <a:ext cx="1647887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altLang="zh-CN" sz="1600" dirty="0" smtClean="0"/>
                  <a:t>Jährlicher </a:t>
                </a:r>
              </a:p>
              <a:p>
                <a:r>
                  <a:rPr lang="de-DE" altLang="zh-CN" sz="1600" dirty="0" smtClean="0"/>
                  <a:t>Bedarf  :    3 </a:t>
                </a:r>
                <a:r>
                  <a:rPr lang="de-DE" altLang="zh-CN" sz="1600" dirty="0" err="1" smtClean="0"/>
                  <a:t>GWh</a:t>
                </a:r>
                <a:endParaRPr lang="zh-CN" altLang="de-DE" sz="1600" dirty="0" smtClean="0"/>
              </a:p>
            </p:txBody>
          </p:sp>
        </p:grpSp>
      </p:grpSp>
      <p:grpSp>
        <p:nvGrpSpPr>
          <p:cNvPr id="71" name="Gruppieren 70"/>
          <p:cNvGrpSpPr/>
          <p:nvPr/>
        </p:nvGrpSpPr>
        <p:grpSpPr>
          <a:xfrm>
            <a:off x="3581631" y="1050447"/>
            <a:ext cx="3636215" cy="1761673"/>
            <a:chOff x="3581631" y="1050447"/>
            <a:chExt cx="3636215" cy="1761673"/>
          </a:xfrm>
        </p:grpSpPr>
        <p:pic>
          <p:nvPicPr>
            <p:cNvPr id="65" name="Grafik 64">
              <a:extLst>
                <a:ext uri="{FF2B5EF4-FFF2-40B4-BE49-F238E27FC236}">
                  <a16:creationId xmlns="" xmlns:a16="http://schemas.microsoft.com/office/drawing/2014/main" id="{8C804461-09E8-4188-9693-BD5C75E06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1631" y="1050447"/>
              <a:ext cx="752996" cy="720000"/>
            </a:xfrm>
            <a:prstGeom prst="rect">
              <a:avLst/>
            </a:prstGeom>
          </p:spPr>
        </p:pic>
        <p:sp>
          <p:nvSpPr>
            <p:cNvPr id="66" name="Textfeld 65"/>
            <p:cNvSpPr txBox="1"/>
            <p:nvPr/>
          </p:nvSpPr>
          <p:spPr>
            <a:xfrm>
              <a:off x="4386943" y="1088571"/>
              <a:ext cx="2830903" cy="17235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zh-CN" altLang="de-DE" sz="1600" dirty="0" smtClean="0"/>
                <a:t> </a:t>
              </a:r>
              <a:r>
                <a:rPr lang="de-DE" altLang="zh-CN" sz="1600" dirty="0" smtClean="0"/>
                <a:t>Signalgröße: Lade- / Entlade-</a:t>
              </a:r>
            </a:p>
            <a:p>
              <a:pPr>
                <a:buClr>
                  <a:schemeClr val="tx2"/>
                </a:buClr>
              </a:pPr>
              <a:r>
                <a:rPr lang="de-DE" altLang="zh-CN" sz="1600" dirty="0" smtClean="0"/>
                <a:t>	</a:t>
              </a:r>
              <a:r>
                <a:rPr lang="de-DE" altLang="zh-CN" sz="1600" dirty="0" err="1" smtClean="0"/>
                <a:t>leistung</a:t>
              </a:r>
              <a:r>
                <a:rPr lang="de-DE" altLang="zh-CN" sz="1600" dirty="0" smtClean="0"/>
                <a:t> der Batterie</a:t>
              </a:r>
            </a:p>
            <a:p>
              <a:pPr>
                <a:buClr>
                  <a:schemeClr val="tx2"/>
                </a:buClr>
              </a:pPr>
              <a:endParaRPr lang="de-DE" altLang="zh-CN" sz="1600" dirty="0" smtClean="0"/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sz="1600" dirty="0" smtClean="0"/>
                <a:t> Wirtschaftlichen Vorteile:</a:t>
              </a:r>
            </a:p>
            <a:p>
              <a:pPr lvl="1">
                <a:buClr>
                  <a:schemeClr val="tx2"/>
                </a:buClr>
                <a:buFont typeface="Symbol" pitchFamily="18" charset="2"/>
                <a:buChar char="-"/>
              </a:pPr>
              <a:r>
                <a:rPr lang="de-DE" altLang="zh-CN" sz="1600" dirty="0" smtClean="0"/>
                <a:t> Spitzenlastglättung</a:t>
              </a:r>
            </a:p>
            <a:p>
              <a:pPr lvl="1">
                <a:buClr>
                  <a:schemeClr val="tx2"/>
                </a:buClr>
                <a:buFont typeface="Symbol" pitchFamily="18" charset="2"/>
                <a:buChar char="-"/>
              </a:pPr>
              <a:r>
                <a:rPr lang="de-DE" altLang="zh-CN" sz="1600" dirty="0" smtClean="0"/>
                <a:t> Eigenverbrauchs-</a:t>
              </a:r>
            </a:p>
            <a:p>
              <a:pPr lvl="1">
                <a:buClr>
                  <a:schemeClr val="tx2"/>
                </a:buClr>
              </a:pPr>
              <a:r>
                <a:rPr lang="de-DE" altLang="zh-CN" sz="1600" dirty="0" smtClean="0"/>
                <a:t>   </a:t>
              </a:r>
              <a:r>
                <a:rPr lang="de-DE" altLang="zh-CN" sz="1600" dirty="0" err="1" smtClean="0"/>
                <a:t>optimierung</a:t>
              </a:r>
              <a:endParaRPr lang="de-DE" altLang="zh-CN" sz="1600" dirty="0" smtClean="0"/>
            </a:p>
          </p:txBody>
        </p:sp>
      </p:grpSp>
      <p:sp>
        <p:nvSpPr>
          <p:cNvPr id="72" name="Abgerundetes Rechteck 71">
            <a:extLst>
              <a:ext uri="{FF2B5EF4-FFF2-40B4-BE49-F238E27FC236}">
                <a16:creationId xmlns="" xmlns:a16="http://schemas.microsoft.com/office/drawing/2014/main" id="{B914E147-3FA9-954A-82DD-6E31C1EE0650}"/>
              </a:ext>
            </a:extLst>
          </p:cNvPr>
          <p:cNvSpPr/>
          <p:nvPr/>
        </p:nvSpPr>
        <p:spPr>
          <a:xfrm>
            <a:off x="7943804" y="2315217"/>
            <a:ext cx="720000" cy="720000"/>
          </a:xfrm>
          <a:prstGeom prst="roundRect">
            <a:avLst/>
          </a:prstGeom>
          <a:solidFill>
            <a:srgbClr val="FFC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 smtClean="0"/>
              <a:t>Bewertungsmetriken</a:t>
            </a:r>
            <a:r>
              <a:rPr lang="de-DE" altLang="zh-CN" dirty="0" smtClean="0"/>
              <a:t> und </a:t>
            </a:r>
            <a:r>
              <a:rPr lang="de-DE" altLang="zh-CN" dirty="0" err="1" smtClean="0"/>
              <a:t>Gütemaße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4572000" y="881743"/>
            <a:ext cx="2982686" cy="66402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ewertungsmetriken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4788000" y="4824000"/>
            <a:ext cx="2664000" cy="1116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omplexitätsparameter</a:t>
            </a:r>
            <a:endParaRPr lang="zh-CN" altLang="de-DE" dirty="0" err="1" smtClean="0"/>
          </a:p>
        </p:txBody>
      </p:sp>
      <p:sp>
        <p:nvSpPr>
          <p:cNvPr id="14" name="Pfeil nach unten 13"/>
          <p:cNvSpPr/>
          <p:nvPr/>
        </p:nvSpPr>
        <p:spPr>
          <a:xfrm>
            <a:off x="5940000" y="3060000"/>
            <a:ext cx="424543" cy="1578428"/>
          </a:xfrm>
          <a:prstGeom prst="downArrow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Pfeil nach unten 17"/>
          <p:cNvSpPr/>
          <p:nvPr/>
        </p:nvSpPr>
        <p:spPr>
          <a:xfrm rot="18000000">
            <a:off x="8208000" y="1512000"/>
            <a:ext cx="293915" cy="586671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2" name="Gruppieren 31"/>
          <p:cNvGrpSpPr/>
          <p:nvPr/>
        </p:nvGrpSpPr>
        <p:grpSpPr>
          <a:xfrm>
            <a:off x="3633622" y="1620000"/>
            <a:ext cx="2600293" cy="359229"/>
            <a:chOff x="3633622" y="1620000"/>
            <a:chExt cx="2600293" cy="359229"/>
          </a:xfrm>
        </p:grpSpPr>
        <p:sp>
          <p:nvSpPr>
            <p:cNvPr id="17" name="Pfeil nach unten 16"/>
            <p:cNvSpPr/>
            <p:nvPr/>
          </p:nvSpPr>
          <p:spPr>
            <a:xfrm>
              <a:off x="5940000" y="1620000"/>
              <a:ext cx="293915" cy="359229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  <p:sp>
          <p:nvSpPr>
            <p:cNvPr id="19" name="Pfeil nach unten 18"/>
            <p:cNvSpPr/>
            <p:nvPr/>
          </p:nvSpPr>
          <p:spPr>
            <a:xfrm rot="3600000">
              <a:off x="3780000" y="1512000"/>
              <a:ext cx="293915" cy="586671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0" name="Abgerundetes Rechteck 19"/>
          <p:cNvSpPr/>
          <p:nvPr/>
        </p:nvSpPr>
        <p:spPr>
          <a:xfrm>
            <a:off x="7020000" y="3132000"/>
            <a:ext cx="2520000" cy="900000"/>
          </a:xfrm>
          <a:prstGeom prst="roundRect">
            <a:avLst/>
          </a:prstGeom>
          <a:solidFill>
            <a:srgbClr val="E7A60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-Notation</a:t>
            </a:r>
            <a:endParaRPr lang="zh-CN" altLang="de-DE" dirty="0" err="1" smtClean="0"/>
          </a:p>
        </p:txBody>
      </p:sp>
      <p:sp>
        <p:nvSpPr>
          <p:cNvPr id="26" name="Abgerundetes Rechteck 25"/>
          <p:cNvSpPr/>
          <p:nvPr/>
        </p:nvSpPr>
        <p:spPr>
          <a:xfrm>
            <a:off x="2844000" y="3132000"/>
            <a:ext cx="2520000" cy="900000"/>
          </a:xfrm>
          <a:prstGeom prst="roundRect">
            <a:avLst/>
          </a:prstGeom>
          <a:solidFill>
            <a:srgbClr val="3FAF62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formationskriterien AIC &amp; BIC</a:t>
            </a:r>
            <a:endParaRPr lang="zh-CN" altLang="de-DE" dirty="0" err="1" smtClean="0"/>
          </a:p>
        </p:txBody>
      </p:sp>
      <p:sp>
        <p:nvSpPr>
          <p:cNvPr id="30" name="Freeform 1010">
            <a:extLst>
              <a:ext uri="{FF2B5EF4-FFF2-40B4-BE49-F238E27FC236}">
                <a16:creationId xmlns:a16="http://schemas.microsoft.com/office/drawing/2014/main" xmlns="" id="{DC6D8C33-B489-463E-A4B9-9AE624495F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10251" y="2296887"/>
            <a:ext cx="929094" cy="404548"/>
          </a:xfrm>
          <a:custGeom>
            <a:avLst/>
            <a:gdLst>
              <a:gd name="T0" fmla="*/ 582 w 585"/>
              <a:gd name="T1" fmla="*/ 123 h 439"/>
              <a:gd name="T2" fmla="*/ 478 w 585"/>
              <a:gd name="T3" fmla="*/ 227 h 439"/>
              <a:gd name="T4" fmla="*/ 470 w 585"/>
              <a:gd name="T5" fmla="*/ 230 h 439"/>
              <a:gd name="T6" fmla="*/ 460 w 585"/>
              <a:gd name="T7" fmla="*/ 220 h 439"/>
              <a:gd name="T8" fmla="*/ 460 w 585"/>
              <a:gd name="T9" fmla="*/ 157 h 439"/>
              <a:gd name="T10" fmla="*/ 10 w 585"/>
              <a:gd name="T11" fmla="*/ 157 h 439"/>
              <a:gd name="T12" fmla="*/ 0 w 585"/>
              <a:gd name="T13" fmla="*/ 147 h 439"/>
              <a:gd name="T14" fmla="*/ 0 w 585"/>
              <a:gd name="T15" fmla="*/ 84 h 439"/>
              <a:gd name="T16" fmla="*/ 10 w 585"/>
              <a:gd name="T17" fmla="*/ 73 h 439"/>
              <a:gd name="T18" fmla="*/ 460 w 585"/>
              <a:gd name="T19" fmla="*/ 73 h 439"/>
              <a:gd name="T20" fmla="*/ 460 w 585"/>
              <a:gd name="T21" fmla="*/ 11 h 439"/>
              <a:gd name="T22" fmla="*/ 470 w 585"/>
              <a:gd name="T23" fmla="*/ 0 h 439"/>
              <a:gd name="T24" fmla="*/ 478 w 585"/>
              <a:gd name="T25" fmla="*/ 4 h 439"/>
              <a:gd name="T26" fmla="*/ 582 w 585"/>
              <a:gd name="T27" fmla="*/ 108 h 439"/>
              <a:gd name="T28" fmla="*/ 585 w 585"/>
              <a:gd name="T29" fmla="*/ 115 h 439"/>
              <a:gd name="T30" fmla="*/ 582 w 585"/>
              <a:gd name="T31" fmla="*/ 123 h 439"/>
              <a:gd name="T32" fmla="*/ 585 w 585"/>
              <a:gd name="T33" fmla="*/ 356 h 439"/>
              <a:gd name="T34" fmla="*/ 575 w 585"/>
              <a:gd name="T35" fmla="*/ 366 h 439"/>
              <a:gd name="T36" fmla="*/ 125 w 585"/>
              <a:gd name="T37" fmla="*/ 366 h 439"/>
              <a:gd name="T38" fmla="*/ 125 w 585"/>
              <a:gd name="T39" fmla="*/ 429 h 439"/>
              <a:gd name="T40" fmla="*/ 115 w 585"/>
              <a:gd name="T41" fmla="*/ 439 h 439"/>
              <a:gd name="T42" fmla="*/ 107 w 585"/>
              <a:gd name="T43" fmla="*/ 436 h 439"/>
              <a:gd name="T44" fmla="*/ 3 w 585"/>
              <a:gd name="T45" fmla="*/ 332 h 439"/>
              <a:gd name="T46" fmla="*/ 0 w 585"/>
              <a:gd name="T47" fmla="*/ 324 h 439"/>
              <a:gd name="T48" fmla="*/ 3 w 585"/>
              <a:gd name="T49" fmla="*/ 317 h 439"/>
              <a:gd name="T50" fmla="*/ 107 w 585"/>
              <a:gd name="T51" fmla="*/ 212 h 439"/>
              <a:gd name="T52" fmla="*/ 115 w 585"/>
              <a:gd name="T53" fmla="*/ 209 h 439"/>
              <a:gd name="T54" fmla="*/ 125 w 585"/>
              <a:gd name="T55" fmla="*/ 220 h 439"/>
              <a:gd name="T56" fmla="*/ 125 w 585"/>
              <a:gd name="T57" fmla="*/ 283 h 439"/>
              <a:gd name="T58" fmla="*/ 575 w 585"/>
              <a:gd name="T59" fmla="*/ 283 h 439"/>
              <a:gd name="T60" fmla="*/ 585 w 585"/>
              <a:gd name="T61" fmla="*/ 293 h 439"/>
              <a:gd name="T62" fmla="*/ 585 w 585"/>
              <a:gd name="T63" fmla="*/ 356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85" h="439">
                <a:moveTo>
                  <a:pt x="582" y="123"/>
                </a:moveTo>
                <a:cubicBezTo>
                  <a:pt x="478" y="227"/>
                  <a:pt x="478" y="227"/>
                  <a:pt x="478" y="227"/>
                </a:cubicBezTo>
                <a:cubicBezTo>
                  <a:pt x="476" y="229"/>
                  <a:pt x="473" y="230"/>
                  <a:pt x="470" y="230"/>
                </a:cubicBezTo>
                <a:cubicBezTo>
                  <a:pt x="465" y="230"/>
                  <a:pt x="460" y="225"/>
                  <a:pt x="460" y="220"/>
                </a:cubicBezTo>
                <a:cubicBezTo>
                  <a:pt x="460" y="157"/>
                  <a:pt x="460" y="157"/>
                  <a:pt x="460" y="157"/>
                </a:cubicBezTo>
                <a:cubicBezTo>
                  <a:pt x="10" y="157"/>
                  <a:pt x="10" y="157"/>
                  <a:pt x="10" y="157"/>
                </a:cubicBezTo>
                <a:cubicBezTo>
                  <a:pt x="5" y="157"/>
                  <a:pt x="0" y="152"/>
                  <a:pt x="0" y="147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78"/>
                  <a:pt x="5" y="73"/>
                  <a:pt x="10" y="73"/>
                </a:cubicBezTo>
                <a:cubicBezTo>
                  <a:pt x="460" y="73"/>
                  <a:pt x="460" y="73"/>
                  <a:pt x="460" y="73"/>
                </a:cubicBezTo>
                <a:cubicBezTo>
                  <a:pt x="460" y="11"/>
                  <a:pt x="460" y="11"/>
                  <a:pt x="460" y="11"/>
                </a:cubicBezTo>
                <a:cubicBezTo>
                  <a:pt x="460" y="5"/>
                  <a:pt x="464" y="0"/>
                  <a:pt x="470" y="0"/>
                </a:cubicBezTo>
                <a:cubicBezTo>
                  <a:pt x="473" y="0"/>
                  <a:pt x="476" y="2"/>
                  <a:pt x="478" y="4"/>
                </a:cubicBezTo>
                <a:cubicBezTo>
                  <a:pt x="582" y="108"/>
                  <a:pt x="582" y="108"/>
                  <a:pt x="582" y="108"/>
                </a:cubicBezTo>
                <a:cubicBezTo>
                  <a:pt x="584" y="110"/>
                  <a:pt x="585" y="113"/>
                  <a:pt x="585" y="115"/>
                </a:cubicBezTo>
                <a:cubicBezTo>
                  <a:pt x="585" y="118"/>
                  <a:pt x="584" y="121"/>
                  <a:pt x="582" y="123"/>
                </a:cubicBezTo>
                <a:close/>
                <a:moveTo>
                  <a:pt x="585" y="356"/>
                </a:moveTo>
                <a:cubicBezTo>
                  <a:pt x="585" y="361"/>
                  <a:pt x="580" y="366"/>
                  <a:pt x="575" y="366"/>
                </a:cubicBezTo>
                <a:cubicBezTo>
                  <a:pt x="125" y="366"/>
                  <a:pt x="125" y="366"/>
                  <a:pt x="125" y="366"/>
                </a:cubicBezTo>
                <a:cubicBezTo>
                  <a:pt x="125" y="429"/>
                  <a:pt x="125" y="429"/>
                  <a:pt x="125" y="429"/>
                </a:cubicBezTo>
                <a:cubicBezTo>
                  <a:pt x="125" y="435"/>
                  <a:pt x="121" y="439"/>
                  <a:pt x="115" y="439"/>
                </a:cubicBezTo>
                <a:cubicBezTo>
                  <a:pt x="112" y="439"/>
                  <a:pt x="109" y="438"/>
                  <a:pt x="107" y="436"/>
                </a:cubicBezTo>
                <a:cubicBezTo>
                  <a:pt x="3" y="332"/>
                  <a:pt x="3" y="332"/>
                  <a:pt x="3" y="332"/>
                </a:cubicBezTo>
                <a:cubicBezTo>
                  <a:pt x="1" y="330"/>
                  <a:pt x="0" y="327"/>
                  <a:pt x="0" y="324"/>
                </a:cubicBezTo>
                <a:cubicBezTo>
                  <a:pt x="0" y="321"/>
                  <a:pt x="1" y="319"/>
                  <a:pt x="3" y="317"/>
                </a:cubicBezTo>
                <a:cubicBezTo>
                  <a:pt x="107" y="212"/>
                  <a:pt x="107" y="212"/>
                  <a:pt x="107" y="212"/>
                </a:cubicBezTo>
                <a:cubicBezTo>
                  <a:pt x="109" y="210"/>
                  <a:pt x="112" y="209"/>
                  <a:pt x="115" y="209"/>
                </a:cubicBezTo>
                <a:cubicBezTo>
                  <a:pt x="120" y="209"/>
                  <a:pt x="125" y="214"/>
                  <a:pt x="125" y="220"/>
                </a:cubicBezTo>
                <a:cubicBezTo>
                  <a:pt x="125" y="283"/>
                  <a:pt x="125" y="283"/>
                  <a:pt x="125" y="283"/>
                </a:cubicBezTo>
                <a:cubicBezTo>
                  <a:pt x="575" y="283"/>
                  <a:pt x="575" y="283"/>
                  <a:pt x="575" y="283"/>
                </a:cubicBezTo>
                <a:cubicBezTo>
                  <a:pt x="580" y="283"/>
                  <a:pt x="585" y="287"/>
                  <a:pt x="585" y="293"/>
                </a:cubicBezTo>
                <a:lnTo>
                  <a:pt x="585" y="356"/>
                </a:lnTo>
                <a:close/>
              </a:path>
            </a:pathLst>
          </a:custGeom>
          <a:solidFill>
            <a:srgbClr val="3FAF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31" name="Freeform 1139">
            <a:extLst>
              <a:ext uri="{FF2B5EF4-FFF2-40B4-BE49-F238E27FC236}">
                <a16:creationId xmlns="" xmlns:a16="http://schemas.microsoft.com/office/drawing/2014/main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>
            <a:off x="7696198" y="2394857"/>
            <a:ext cx="957943" cy="250372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rgbClr val="E7A6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pSp>
        <p:nvGrpSpPr>
          <p:cNvPr id="27" name="Gruppieren 26"/>
          <p:cNvGrpSpPr/>
          <p:nvPr/>
        </p:nvGrpSpPr>
        <p:grpSpPr>
          <a:xfrm>
            <a:off x="792000" y="3060000"/>
            <a:ext cx="2664000" cy="2880000"/>
            <a:chOff x="792000" y="3060000"/>
            <a:chExt cx="2664000" cy="2880000"/>
          </a:xfrm>
        </p:grpSpPr>
        <p:sp>
          <p:nvSpPr>
            <p:cNvPr id="8" name="Abgerundetes Rechteck 7"/>
            <p:cNvSpPr/>
            <p:nvPr/>
          </p:nvSpPr>
          <p:spPr>
            <a:xfrm>
              <a:off x="792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egressions-</a:t>
              </a:r>
              <a:r>
                <a:rPr lang="de-DE" altLang="zh-CN" dirty="0" err="1" smtClean="0"/>
                <a:t>gütemaße</a:t>
              </a:r>
              <a:endParaRPr lang="de-DE" altLang="zh-CN" dirty="0" smtClean="0"/>
            </a:p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MSE, …</a:t>
              </a:r>
              <a:endParaRPr lang="zh-CN" altLang="de-DE" dirty="0" err="1" smtClean="0"/>
            </a:p>
          </p:txBody>
        </p:sp>
        <p:sp>
          <p:nvSpPr>
            <p:cNvPr id="15" name="Pfeil nach unten 14"/>
            <p:cNvSpPr/>
            <p:nvPr/>
          </p:nvSpPr>
          <p:spPr>
            <a:xfrm>
              <a:off x="1944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864000" y="2088000"/>
            <a:ext cx="2492829" cy="794659"/>
            <a:chOff x="864000" y="2088000"/>
            <a:chExt cx="2492829" cy="794659"/>
          </a:xfrm>
        </p:grpSpPr>
        <p:sp>
          <p:nvSpPr>
            <p:cNvPr id="5" name="Abgerundetes Rechteck 4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21" name="Freeform 1086">
              <a:extLst>
                <a:ext uri="{FF2B5EF4-FFF2-40B4-BE49-F238E27FC236}">
                  <a16:creationId xmlns="" xmlns:a16="http://schemas.microsoft.com/office/drawing/2014/main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4860000" y="2088000"/>
            <a:ext cx="2520000" cy="792000"/>
            <a:chOff x="4860000" y="2088000"/>
            <a:chExt cx="2520000" cy="792000"/>
          </a:xfrm>
        </p:grpSpPr>
        <p:sp>
          <p:nvSpPr>
            <p:cNvPr id="6" name="Abgerundetes Rechteck 5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22" name="Freeform 924">
              <a:extLst>
                <a:ext uri="{FF2B5EF4-FFF2-40B4-BE49-F238E27FC236}">
                  <a16:creationId xmlns:a16="http://schemas.microsoft.com/office/drawing/2014/main" xmlns="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8964000" y="3060000"/>
            <a:ext cx="2664000" cy="2880000"/>
            <a:chOff x="8964000" y="3060000"/>
            <a:chExt cx="2664000" cy="2880000"/>
          </a:xfrm>
        </p:grpSpPr>
        <p:sp>
          <p:nvSpPr>
            <p:cNvPr id="10" name="Abgerundetes Rechteck 9"/>
            <p:cNvSpPr/>
            <p:nvPr/>
          </p:nvSpPr>
          <p:spPr>
            <a:xfrm>
              <a:off x="8964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Prädiktionszeit</a:t>
              </a:r>
              <a:endParaRPr lang="zh-CN" altLang="de-DE" dirty="0" err="1" smtClean="0"/>
            </a:p>
          </p:txBody>
        </p:sp>
        <p:sp>
          <p:nvSpPr>
            <p:cNvPr id="13" name="Pfeil nach unten 12"/>
            <p:cNvSpPr/>
            <p:nvPr/>
          </p:nvSpPr>
          <p:spPr>
            <a:xfrm>
              <a:off x="9972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9036000" y="2088000"/>
            <a:ext cx="2520000" cy="792000"/>
            <a:chOff x="9036000" y="2088000"/>
            <a:chExt cx="2520000" cy="792000"/>
          </a:xfrm>
        </p:grpSpPr>
        <p:sp>
          <p:nvSpPr>
            <p:cNvPr id="7" name="Abgerundetes Rechteck 6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3" name="Freeform 1342">
              <a:extLst>
                <a:ext uri="{FF2B5EF4-FFF2-40B4-BE49-F238E27FC236}">
                  <a16:creationId xmlns="" xmlns:a16="http://schemas.microsoft.com/office/drawing/2014/main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8" grpId="0" animBg="1"/>
      <p:bldP spid="20" grpId="0" animBg="1"/>
      <p:bldP spid="26" grpId="0" animBg="1"/>
      <p:bldP spid="30" grpId="0" animBg="1"/>
      <p:bldP spid="3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296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784000" y="802885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8" name="Gruppieren 15">
            <a:extLst>
              <a:ext uri="{FF2B5EF4-FFF2-40B4-BE49-F238E27FC236}">
                <a16:creationId xmlns="" xmlns:a16="http://schemas.microsoft.com/office/drawing/2014/main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=""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="" xmlns:a16="http://schemas.microsoft.com/office/drawing/2014/main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097024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14" name="Gruppieren 13"/>
          <p:cNvGrpSpPr/>
          <p:nvPr/>
        </p:nvGrpSpPr>
        <p:grpSpPr>
          <a:xfrm>
            <a:off x="4572000" y="792000"/>
            <a:ext cx="3054144" cy="1266227"/>
            <a:chOff x="3997187" y="1183059"/>
            <a:chExt cx="3054144" cy="1417320"/>
          </a:xfrm>
        </p:grpSpPr>
        <p:sp>
          <p:nvSpPr>
            <p:cNvPr id="15" name="Textfeld 14"/>
            <p:cNvSpPr txBox="1"/>
            <p:nvPr/>
          </p:nvSpPr>
          <p:spPr>
            <a:xfrm>
              <a:off x="4191001" y="1581910"/>
              <a:ext cx="2510046" cy="9646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L : Maximum-</a:t>
              </a:r>
              <a:r>
                <a:rPr lang="de-DE" altLang="zh-CN" sz="1400" dirty="0" err="1"/>
                <a:t>Likelihoodfunktion</a:t>
              </a:r>
              <a:endParaRPr lang="de-DE" altLang="zh-CN" sz="1400" dirty="0"/>
            </a:p>
            <a:p>
              <a:r>
                <a:rPr lang="de-DE" altLang="zh-CN" sz="1400" dirty="0"/>
                <a:t>k : Anzahl der Parameter</a:t>
              </a:r>
            </a:p>
            <a:p>
              <a:r>
                <a:rPr lang="de-DE" altLang="zh-CN" sz="1400" dirty="0"/>
                <a:t>n : Anzahl an Beobachtungen </a:t>
              </a:r>
            </a:p>
            <a:p>
              <a:endParaRPr lang="zh-CN" altLang="de-DE" sz="1400" dirty="0"/>
            </a:p>
          </p:txBody>
        </p:sp>
        <p:grpSp>
          <p:nvGrpSpPr>
            <p:cNvPr id="16" name="Gruppieren 18">
              <a:extLst>
                <a:ext uri="{FF2B5EF4-FFF2-40B4-BE49-F238E27FC236}">
                  <a16:creationId xmlns="" xmlns:a16="http://schemas.microsoft.com/office/drawing/2014/main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="" xmlns:a16="http://schemas.microsoft.com/office/drawing/2014/main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="" xmlns:a16="http://schemas.microsoft.com/office/drawing/2014/main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54886" y="2196000"/>
            <a:ext cx="2733344" cy="6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84000" y="2196000"/>
            <a:ext cx="3285145" cy="5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39" name="Freeform 1086">
            <a:extLst>
              <a:ext uri="{FF2B5EF4-FFF2-40B4-BE49-F238E27FC236}">
                <a16:creationId xmlns="" xmlns:a16="http://schemas.microsoft.com/office/drawing/2014/main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xmlns="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p:oleObj spid="_x0000_s2050" name="Equation" r:id="rId6" imgW="114120" imgH="177480" progId="Equation.DSMT4">
              <p:embed/>
            </p:oleObj>
          </a:graphicData>
        </a:graphic>
      </p:graphicFrame>
      <p:sp>
        <p:nvSpPr>
          <p:cNvPr id="32" name="Abgerundetes Rechteck 31"/>
          <p:cNvSpPr/>
          <p:nvPr/>
        </p:nvSpPr>
        <p:spPr>
          <a:xfrm>
            <a:off x="1296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AIC:</a:t>
            </a:r>
          </a:p>
          <a:p>
            <a:pPr algn="ctr"/>
            <a:r>
              <a:rPr lang="de-DE" altLang="zh-CN" sz="2000" b="1" dirty="0" smtClean="0"/>
              <a:t>Fokus auf Genauigkeit</a:t>
            </a:r>
            <a:endParaRPr lang="zh-CN" altLang="de-DE" sz="2000" b="1" dirty="0"/>
          </a:p>
        </p:txBody>
      </p:sp>
      <p:sp>
        <p:nvSpPr>
          <p:cNvPr id="33" name="Abgerundetes Rechteck 32"/>
          <p:cNvSpPr/>
          <p:nvPr/>
        </p:nvSpPr>
        <p:spPr>
          <a:xfrm>
            <a:off x="8784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BIC:</a:t>
            </a:r>
          </a:p>
          <a:p>
            <a:pPr algn="ctr"/>
            <a:r>
              <a:rPr lang="de-DE" altLang="zh-CN" sz="2000" b="1" dirty="0" smtClean="0"/>
              <a:t>Fokus auf Komplexität</a:t>
            </a:r>
            <a:endParaRPr lang="zh-CN" altLang="de-DE" sz="2000" b="1" dirty="0"/>
          </a:p>
        </p:txBody>
      </p:sp>
      <p:grpSp>
        <p:nvGrpSpPr>
          <p:cNvPr id="34" name="Gruppieren 33"/>
          <p:cNvGrpSpPr/>
          <p:nvPr/>
        </p:nvGrpSpPr>
        <p:grpSpPr>
          <a:xfrm>
            <a:off x="4103911" y="4384878"/>
            <a:ext cx="3926915" cy="540000"/>
            <a:chOff x="1698169" y="5625850"/>
            <a:chExt cx="3926915" cy="540000"/>
          </a:xfrm>
        </p:grpSpPr>
        <p:sp>
          <p:nvSpPr>
            <p:cNvPr id="36" name="Abgerundetes Rechteck 35"/>
            <p:cNvSpPr/>
            <p:nvPr/>
          </p:nvSpPr>
          <p:spPr>
            <a:xfrm>
              <a:off x="1698169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4158345" y="5203371"/>
            <a:ext cx="3886200" cy="697168"/>
            <a:chOff x="4343401" y="5279571"/>
            <a:chExt cx="3886200" cy="697168"/>
          </a:xfrm>
        </p:grpSpPr>
        <p:sp>
          <p:nvSpPr>
            <p:cNvPr id="43" name="Rechteck 42">
              <a:extLst>
                <a:ext uri="{FF2B5EF4-FFF2-40B4-BE49-F238E27FC236}">
                  <a16:creationId xmlns="" xmlns:a16="http://schemas.microsoft.com/office/drawing/2014/main" id="{8AD594F3-7F62-48DD-AA0F-0DB27D2AE61F}"/>
                </a:ext>
              </a:extLst>
            </p:cNvPr>
            <p:cNvSpPr/>
            <p:nvPr/>
          </p:nvSpPr>
          <p:spPr>
            <a:xfrm>
              <a:off x="4343401" y="5279571"/>
              <a:ext cx="3886200" cy="697168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4430486" y="5486400"/>
              <a:ext cx="374891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Modell mit kleinsten Wert wird angestrebt</a:t>
              </a:r>
              <a:endParaRPr lang="zh-CN" altLang="de-DE" sz="1600" dirty="0" smtClean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 animBg="1"/>
      <p:bldP spid="22" grpId="0" animBg="1"/>
      <p:bldP spid="23" grpId="0" animBg="1"/>
      <p:bldP spid="24" grpId="0" animBg="1"/>
      <p:bldP spid="25" grpId="0" animBg="1"/>
      <p:bldP spid="32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Anwendung der Informationskriterien auf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Verfahren </a:t>
            </a:r>
            <a:endParaRPr lang="zh-CN" altLang="de-DE" dirty="0"/>
          </a:p>
        </p:txBody>
      </p:sp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86457" y="813515"/>
            <a:ext cx="2733344" cy="6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4" descr="aic rs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9401" y="805543"/>
            <a:ext cx="2355999" cy="644396"/>
          </a:xfrm>
          <a:prstGeom prst="rect">
            <a:avLst/>
          </a:prstGeom>
        </p:spPr>
      </p:pic>
      <p:sp>
        <p:nvSpPr>
          <p:cNvPr id="6" name="Pfeil nach rechts 5"/>
          <p:cNvSpPr/>
          <p:nvPr/>
        </p:nvSpPr>
        <p:spPr>
          <a:xfrm>
            <a:off x="6008914" y="968829"/>
            <a:ext cx="446315" cy="250371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1548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5624835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9180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dirty="0" smtClean="0"/>
              <a:t>SVR</a:t>
            </a:r>
            <a:endParaRPr lang="zh-CN" altLang="de-DE" dirty="0" err="1" smtClean="0"/>
          </a:p>
        </p:txBody>
      </p:sp>
      <p:sp>
        <p:nvSpPr>
          <p:cNvPr id="12" name="Abgerundetes Rechteck 11"/>
          <p:cNvSpPr/>
          <p:nvPr/>
        </p:nvSpPr>
        <p:spPr>
          <a:xfrm>
            <a:off x="627597" y="457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A: Anzahl der 	 Verbindungen</a:t>
            </a:r>
            <a:endParaRPr lang="zh-CN" altLang="de-DE" dirty="0" err="1" smtClean="0"/>
          </a:p>
        </p:txBody>
      </p:sp>
      <p:sp>
        <p:nvSpPr>
          <p:cNvPr id="13" name="Abgerundetes Rechteck 12"/>
          <p:cNvSpPr/>
          <p:nvPr/>
        </p:nvSpPr>
        <p:spPr>
          <a:xfrm>
            <a:off x="627597" y="5415345"/>
            <a:ext cx="3008229" cy="720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B: Summe der Gewichte</a:t>
            </a:r>
            <a:endParaRPr lang="zh-CN" alt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756000" y="2952000"/>
            <a:ext cx="216000" cy="216000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1872000" y="2556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1872000" y="295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1872000" y="331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2988000" y="2952000"/>
            <a:ext cx="216000" cy="216000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28" name="Gerade Verbindung 27"/>
          <p:cNvCxnSpPr>
            <a:stCxn id="15" idx="7"/>
            <a:endCxn id="21" idx="2"/>
          </p:cNvCxnSpPr>
          <p:nvPr/>
        </p:nvCxnSpPr>
        <p:spPr>
          <a:xfrm flipV="1">
            <a:off x="940368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>
            <a:stCxn id="15" idx="6"/>
            <a:endCxn id="23" idx="2"/>
          </p:cNvCxnSpPr>
          <p:nvPr/>
        </p:nvCxnSpPr>
        <p:spPr>
          <a:xfrm>
            <a:off x="972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>
            <a:stCxn id="15" idx="5"/>
            <a:endCxn id="24" idx="2"/>
          </p:cNvCxnSpPr>
          <p:nvPr/>
        </p:nvCxnSpPr>
        <p:spPr>
          <a:xfrm>
            <a:off x="940368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stCxn id="21" idx="6"/>
            <a:endCxn id="26" idx="1"/>
          </p:cNvCxnSpPr>
          <p:nvPr/>
        </p:nvCxnSpPr>
        <p:spPr>
          <a:xfrm>
            <a:off x="2088000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>
            <a:stCxn id="23" idx="6"/>
            <a:endCxn id="26" idx="2"/>
          </p:cNvCxnSpPr>
          <p:nvPr/>
        </p:nvCxnSpPr>
        <p:spPr>
          <a:xfrm>
            <a:off x="2088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>
            <a:stCxn id="24" idx="6"/>
            <a:endCxn id="26" idx="3"/>
          </p:cNvCxnSpPr>
          <p:nvPr/>
        </p:nvCxnSpPr>
        <p:spPr>
          <a:xfrm flipV="1">
            <a:off x="2088000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360000" y="3636000"/>
            <a:ext cx="327172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E9766D"/>
                </a:solidFill>
              </a:rPr>
              <a:t>A:      	    3        +        3	    = 6</a:t>
            </a:r>
            <a:endParaRPr lang="zh-CN" altLang="de-DE" sz="1400" dirty="0" smtClean="0">
              <a:solidFill>
                <a:srgbClr val="E9766D"/>
              </a:solidFill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381001" y="3973285"/>
            <a:ext cx="32829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C00000"/>
                </a:solidFill>
              </a:rPr>
              <a:t>B:        1 + 1.5 + 0   +    |-0.5| + 1 + 0  = 4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1306286" y="2579914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1469571" y="2819400"/>
            <a:ext cx="31739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</a:t>
            </a:r>
            <a:r>
              <a:rPr lang="de-DE" altLang="zh-CN" sz="1200" dirty="0" smtClean="0">
                <a:solidFill>
                  <a:srgbClr val="C00000"/>
                </a:solidFill>
              </a:rPr>
              <a:t>1.5</a:t>
            </a:r>
            <a:endParaRPr lang="zh-CN" altLang="de-DE" sz="1200" dirty="0" smtClean="0">
              <a:solidFill>
                <a:srgbClr val="C00000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1513115" y="3091543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2427515" y="2569028"/>
            <a:ext cx="3077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-</a:t>
            </a:r>
            <a:r>
              <a:rPr lang="de-DE" altLang="zh-CN" sz="1400" dirty="0" smtClean="0">
                <a:solidFill>
                  <a:srgbClr val="C00000"/>
                </a:solidFill>
              </a:rPr>
              <a:t>0.5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2460173" y="3102429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2220686" y="2873829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72" name="Abgerundetes Rechteck 71"/>
          <p:cNvSpPr/>
          <p:nvPr/>
        </p:nvSpPr>
        <p:spPr>
          <a:xfrm>
            <a:off x="4590693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Blätter</a:t>
            </a:r>
            <a:endParaRPr lang="zh-CN" altLang="de-DE" dirty="0" err="1" smtClean="0"/>
          </a:p>
        </p:txBody>
      </p:sp>
      <p:grpSp>
        <p:nvGrpSpPr>
          <p:cNvPr id="87" name="Gruppieren 86"/>
          <p:cNvGrpSpPr/>
          <p:nvPr/>
        </p:nvGrpSpPr>
        <p:grpSpPr>
          <a:xfrm>
            <a:off x="5018143" y="2571943"/>
            <a:ext cx="2008714" cy="936000"/>
            <a:chOff x="5029029" y="2376000"/>
            <a:chExt cx="2008714" cy="936000"/>
          </a:xfrm>
        </p:grpSpPr>
        <p:grpSp>
          <p:nvGrpSpPr>
            <p:cNvPr id="73" name="Gruppieren 72"/>
            <p:cNvGrpSpPr/>
            <p:nvPr/>
          </p:nvGrpSpPr>
          <p:grpSpPr>
            <a:xfrm>
              <a:off x="5029029" y="2376000"/>
              <a:ext cx="1080000" cy="936000"/>
              <a:chOff x="5508000" y="2386886"/>
              <a:chExt cx="1080000" cy="936000"/>
            </a:xfrm>
          </p:grpSpPr>
          <p:sp>
            <p:nvSpPr>
              <p:cNvPr id="53" name="Ellipse 52"/>
              <p:cNvSpPr/>
              <p:nvPr/>
            </p:nvSpPr>
            <p:spPr>
              <a:xfrm>
                <a:off x="5950971" y="238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>
              <a:xfrm>
                <a:off x="5724000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Ellipse 54"/>
              <p:cNvSpPr/>
              <p:nvPr/>
            </p:nvSpPr>
            <p:spPr>
              <a:xfrm>
                <a:off x="6166971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Ellipse 55"/>
              <p:cNvSpPr/>
              <p:nvPr/>
            </p:nvSpPr>
            <p:spPr>
              <a:xfrm>
                <a:off x="55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Ellipse 56"/>
              <p:cNvSpPr/>
              <p:nvPr/>
            </p:nvSpPr>
            <p:spPr>
              <a:xfrm>
                <a:off x="604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Ellipse 57"/>
              <p:cNvSpPr/>
              <p:nvPr/>
            </p:nvSpPr>
            <p:spPr>
              <a:xfrm>
                <a:off x="64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2" name="Gerade Verbindung 61"/>
              <p:cNvCxnSpPr>
                <a:stCxn id="53" idx="3"/>
                <a:endCxn id="54" idx="7"/>
              </p:cNvCxnSpPr>
              <p:nvPr/>
            </p:nvCxnSpPr>
            <p:spPr>
              <a:xfrm flipH="1">
                <a:off x="5877640" y="2540526"/>
                <a:ext cx="99691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>
                <a:stCxn id="54" idx="3"/>
                <a:endCxn id="56" idx="7"/>
              </p:cNvCxnSpPr>
              <p:nvPr/>
            </p:nvCxnSpPr>
            <p:spPr>
              <a:xfrm flipH="1">
                <a:off x="5661640" y="2900526"/>
                <a:ext cx="88720" cy="268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66"/>
              <p:cNvCxnSpPr>
                <a:stCxn id="53" idx="5"/>
                <a:endCxn id="55" idx="1"/>
              </p:cNvCxnSpPr>
              <p:nvPr/>
            </p:nvCxnSpPr>
            <p:spPr>
              <a:xfrm>
                <a:off x="6104611" y="2540526"/>
                <a:ext cx="88720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 Verbindung 68"/>
              <p:cNvCxnSpPr>
                <a:stCxn id="55" idx="3"/>
                <a:endCxn id="57" idx="0"/>
              </p:cNvCxnSpPr>
              <p:nvPr/>
            </p:nvCxnSpPr>
            <p:spPr>
              <a:xfrm flipH="1">
                <a:off x="6138000" y="2900526"/>
                <a:ext cx="55331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>
                <a:stCxn id="55" idx="5"/>
                <a:endCxn id="58" idx="0"/>
              </p:cNvCxnSpPr>
              <p:nvPr/>
            </p:nvCxnSpPr>
            <p:spPr>
              <a:xfrm>
                <a:off x="6320611" y="2900526"/>
                <a:ext cx="177389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Ellipse 73"/>
            <p:cNvSpPr/>
            <p:nvPr/>
          </p:nvSpPr>
          <p:spPr>
            <a:xfrm>
              <a:off x="6618258" y="237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5" name="Ellipse 74"/>
            <p:cNvSpPr/>
            <p:nvPr/>
          </p:nvSpPr>
          <p:spPr>
            <a:xfrm>
              <a:off x="6400544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6" name="Ellipse 75"/>
            <p:cNvSpPr/>
            <p:nvPr/>
          </p:nvSpPr>
          <p:spPr>
            <a:xfrm>
              <a:off x="6857743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7" name="Ellipse 76"/>
            <p:cNvSpPr/>
            <p:nvPr/>
          </p:nvSpPr>
          <p:spPr>
            <a:xfrm>
              <a:off x="6531172" y="3132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78"/>
            <p:cNvCxnSpPr>
              <a:stCxn id="74" idx="3"/>
              <a:endCxn id="75" idx="7"/>
            </p:cNvCxnSpPr>
            <p:nvPr/>
          </p:nvCxnSpPr>
          <p:spPr>
            <a:xfrm flipH="1">
              <a:off x="6554184" y="2529640"/>
              <a:ext cx="90434" cy="2327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>
              <a:stCxn id="74" idx="5"/>
              <a:endCxn id="76" idx="6"/>
            </p:cNvCxnSpPr>
            <p:nvPr/>
          </p:nvCxnSpPr>
          <p:spPr>
            <a:xfrm>
              <a:off x="6771898" y="2529640"/>
              <a:ext cx="265845" cy="296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>
              <a:stCxn id="75" idx="5"/>
              <a:endCxn id="77" idx="4"/>
            </p:cNvCxnSpPr>
            <p:nvPr/>
          </p:nvCxnSpPr>
          <p:spPr>
            <a:xfrm>
              <a:off x="6554184" y="2889640"/>
              <a:ext cx="66988" cy="422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Abgerundetes Rechteck 87"/>
          <p:cNvSpPr/>
          <p:nvPr/>
        </p:nvSpPr>
        <p:spPr>
          <a:xfrm>
            <a:off x="8160511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Support Vektoren</a:t>
            </a:r>
            <a:endParaRPr lang="zh-CN" altLang="de-DE" dirty="0" err="1" smtClean="0"/>
          </a:p>
        </p:txBody>
      </p:sp>
      <p:grpSp>
        <p:nvGrpSpPr>
          <p:cNvPr id="109" name="Gruppieren 108"/>
          <p:cNvGrpSpPr/>
          <p:nvPr/>
        </p:nvGrpSpPr>
        <p:grpSpPr>
          <a:xfrm>
            <a:off x="8759485" y="2590800"/>
            <a:ext cx="1625487" cy="1219200"/>
            <a:chOff x="8759485" y="2590800"/>
            <a:chExt cx="1625487" cy="1219200"/>
          </a:xfrm>
        </p:grpSpPr>
        <p:cxnSp>
          <p:nvCxnSpPr>
            <p:cNvPr id="90" name="Gerade Verbindung 89"/>
            <p:cNvCxnSpPr/>
            <p:nvPr/>
          </p:nvCxnSpPr>
          <p:spPr>
            <a:xfrm flipV="1">
              <a:off x="8969829" y="25908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 flipV="1">
              <a:off x="9122229" y="27432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 flipV="1">
              <a:off x="9274629" y="28956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Ellipse 93"/>
            <p:cNvSpPr/>
            <p:nvPr/>
          </p:nvSpPr>
          <p:spPr>
            <a:xfrm>
              <a:off x="9456171" y="3537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Ellipse 94"/>
            <p:cNvSpPr/>
            <p:nvPr/>
          </p:nvSpPr>
          <p:spPr>
            <a:xfrm>
              <a:off x="9619456" y="2862943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Ellipse 95"/>
            <p:cNvSpPr/>
            <p:nvPr/>
          </p:nvSpPr>
          <p:spPr>
            <a:xfrm>
              <a:off x="9956913" y="3156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/>
            <p:nvPr/>
          </p:nvSpPr>
          <p:spPr>
            <a:xfrm>
              <a:off x="8759485" y="29173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8" name="Ellipse 97"/>
            <p:cNvSpPr/>
            <p:nvPr/>
          </p:nvSpPr>
          <p:spPr>
            <a:xfrm>
              <a:off x="10011342" y="3635829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Ellipse 98"/>
            <p:cNvSpPr/>
            <p:nvPr/>
          </p:nvSpPr>
          <p:spPr>
            <a:xfrm>
              <a:off x="9477943" y="31459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Ellipse 99"/>
            <p:cNvSpPr/>
            <p:nvPr/>
          </p:nvSpPr>
          <p:spPr>
            <a:xfrm>
              <a:off x="9053400" y="3265714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Ellipse 100"/>
            <p:cNvSpPr/>
            <p:nvPr/>
          </p:nvSpPr>
          <p:spPr>
            <a:xfrm>
              <a:off x="9260228" y="26778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Ellipse 101"/>
            <p:cNvSpPr/>
            <p:nvPr/>
          </p:nvSpPr>
          <p:spPr>
            <a:xfrm>
              <a:off x="9989570" y="2841171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Ellipse 102"/>
            <p:cNvSpPr/>
            <p:nvPr/>
          </p:nvSpPr>
          <p:spPr>
            <a:xfrm>
              <a:off x="10229057" y="29064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04" name="Ellipse 103"/>
          <p:cNvSpPr/>
          <p:nvPr/>
        </p:nvSpPr>
        <p:spPr>
          <a:xfrm>
            <a:off x="5018057" y="3333943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554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6" name="Ellipse 105"/>
          <p:cNvSpPr/>
          <p:nvPr/>
        </p:nvSpPr>
        <p:spPr>
          <a:xfrm>
            <a:off x="590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7" name="Ellipse 106"/>
          <p:cNvSpPr/>
          <p:nvPr/>
        </p:nvSpPr>
        <p:spPr>
          <a:xfrm>
            <a:off x="6516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8" name="Ellipse 107"/>
          <p:cNvSpPr/>
          <p:nvPr/>
        </p:nvSpPr>
        <p:spPr>
          <a:xfrm>
            <a:off x="6846858" y="2931172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0" name="Ellipse 109"/>
          <p:cNvSpPr/>
          <p:nvPr/>
        </p:nvSpPr>
        <p:spPr>
          <a:xfrm>
            <a:off x="9467057" y="3537859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1" name="Ellipse 110"/>
          <p:cNvSpPr/>
          <p:nvPr/>
        </p:nvSpPr>
        <p:spPr>
          <a:xfrm>
            <a:off x="9936000" y="3168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2" name="Ellipse 111"/>
          <p:cNvSpPr/>
          <p:nvPr/>
        </p:nvSpPr>
        <p:spPr>
          <a:xfrm>
            <a:off x="10224000" y="2906487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3" name="Ellipse 112"/>
          <p:cNvSpPr/>
          <p:nvPr/>
        </p:nvSpPr>
        <p:spPr>
          <a:xfrm>
            <a:off x="9036000" y="3276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4" name="Ellipse 113"/>
          <p:cNvSpPr/>
          <p:nvPr/>
        </p:nvSpPr>
        <p:spPr>
          <a:xfrm>
            <a:off x="9612000" y="2844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" grpId="0" animBg="1"/>
      <p:bldP spid="13" grpId="0" animBg="1"/>
      <p:bldP spid="15" grpId="0" animBg="1"/>
      <p:bldP spid="21" grpId="0" animBg="1"/>
      <p:bldP spid="23" grpId="0" animBg="1"/>
      <p:bldP spid="24" grpId="0" animBg="1"/>
      <p:bldP spid="26" grpId="0" animBg="1"/>
      <p:bldP spid="41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72" grpId="0" animBg="1"/>
      <p:bldP spid="88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10" grpId="0" animBg="1"/>
      <p:bldP spid="111" grpId="0" animBg="1"/>
      <p:bldP spid="112" grpId="0" animBg="1"/>
      <p:bldP spid="113" grpId="0" animBg="1"/>
      <p:bldP spid="1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rainingsablauf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933885" y="824657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rainingsdatensatz</a:t>
            </a:r>
            <a:endParaRPr lang="zh-CN" altLang="de-DE" dirty="0" err="1" smtClean="0"/>
          </a:p>
        </p:txBody>
      </p:sp>
      <p:sp>
        <p:nvSpPr>
          <p:cNvPr id="6" name="Abgerundetes Rechteck 5"/>
          <p:cNvSpPr/>
          <p:nvPr/>
        </p:nvSpPr>
        <p:spPr>
          <a:xfrm>
            <a:off x="5102314" y="813772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estdatensatz</a:t>
            </a:r>
            <a:endParaRPr lang="zh-CN" altLang="de-DE" dirty="0" err="1" smtClean="0"/>
          </a:p>
        </p:txBody>
      </p:sp>
      <p:sp>
        <p:nvSpPr>
          <p:cNvPr id="7" name="Abgerundetes Rechteck 6"/>
          <p:cNvSpPr/>
          <p:nvPr/>
        </p:nvSpPr>
        <p:spPr>
          <a:xfrm>
            <a:off x="1933885" y="1923943"/>
            <a:ext cx="2520000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Cross-Validatio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133885" y="2876657"/>
            <a:ext cx="2052000" cy="917059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ptimierung der ausgewählten</a:t>
            </a:r>
          </a:p>
          <a:p>
            <a:pPr algn="ctr"/>
            <a:r>
              <a:rPr lang="de-DE" altLang="zh-CN" dirty="0" smtClean="0"/>
              <a:t>Zielgröße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1933885" y="4119943"/>
            <a:ext cx="2503714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sche</a:t>
            </a:r>
            <a:r>
              <a:rPr lang="de-DE" altLang="zh-CN" dirty="0" smtClean="0"/>
              <a:t> Optimierung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1933885" y="5256857"/>
            <a:ext cx="2503714" cy="72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s Modell</a:t>
            </a:r>
            <a:endParaRPr lang="zh-CN" altLang="de-DE" dirty="0" err="1" smtClean="0"/>
          </a:p>
        </p:txBody>
      </p:sp>
      <p:grpSp>
        <p:nvGrpSpPr>
          <p:cNvPr id="30" name="Gruppieren 29"/>
          <p:cNvGrpSpPr/>
          <p:nvPr/>
        </p:nvGrpSpPr>
        <p:grpSpPr>
          <a:xfrm>
            <a:off x="5101885" y="5108657"/>
            <a:ext cx="2520000" cy="943800"/>
            <a:chOff x="5101885" y="5108657"/>
            <a:chExt cx="2520000" cy="943800"/>
          </a:xfrm>
        </p:grpSpPr>
        <p:sp>
          <p:nvSpPr>
            <p:cNvPr id="22" name="Abgerundetes Rechteck 21"/>
            <p:cNvSpPr/>
            <p:nvPr/>
          </p:nvSpPr>
          <p:spPr>
            <a:xfrm>
              <a:off x="5101885" y="5108657"/>
              <a:ext cx="2520000" cy="94380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  Prädiktion</a:t>
              </a:r>
              <a:endParaRPr lang="zh-CN" altLang="de-DE" dirty="0" err="1" smtClean="0"/>
            </a:p>
          </p:txBody>
        </p:sp>
        <p:sp>
          <p:nvSpPr>
            <p:cNvPr id="12" name="Freeform 1037">
              <a:extLst>
                <a:ext uri="{FF2B5EF4-FFF2-40B4-BE49-F238E27FC236}">
                  <a16:creationId xmlns:a16="http://schemas.microsoft.com/office/drawing/2014/main" xmlns="" id="{25CA18D4-7A21-4D26-8353-BE61262E31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90185" y="5155501"/>
              <a:ext cx="664568" cy="449759"/>
            </a:xfrm>
            <a:custGeom>
              <a:avLst/>
              <a:gdLst>
                <a:gd name="T0" fmla="*/ 627 w 627"/>
                <a:gd name="T1" fmla="*/ 356 h 419"/>
                <a:gd name="T2" fmla="*/ 627 w 627"/>
                <a:gd name="T3" fmla="*/ 387 h 419"/>
                <a:gd name="T4" fmla="*/ 575 w 627"/>
                <a:gd name="T5" fmla="*/ 419 h 419"/>
                <a:gd name="T6" fmla="*/ 52 w 627"/>
                <a:gd name="T7" fmla="*/ 419 h 419"/>
                <a:gd name="T8" fmla="*/ 0 w 627"/>
                <a:gd name="T9" fmla="*/ 387 h 419"/>
                <a:gd name="T10" fmla="*/ 0 w 627"/>
                <a:gd name="T11" fmla="*/ 356 h 419"/>
                <a:gd name="T12" fmla="*/ 52 w 627"/>
                <a:gd name="T13" fmla="*/ 356 h 419"/>
                <a:gd name="T14" fmla="*/ 575 w 627"/>
                <a:gd name="T15" fmla="*/ 356 h 419"/>
                <a:gd name="T16" fmla="*/ 627 w 627"/>
                <a:gd name="T17" fmla="*/ 356 h 419"/>
                <a:gd name="T18" fmla="*/ 83 w 627"/>
                <a:gd name="T19" fmla="*/ 283 h 419"/>
                <a:gd name="T20" fmla="*/ 83 w 627"/>
                <a:gd name="T21" fmla="*/ 53 h 419"/>
                <a:gd name="T22" fmla="*/ 136 w 627"/>
                <a:gd name="T23" fmla="*/ 0 h 419"/>
                <a:gd name="T24" fmla="*/ 491 w 627"/>
                <a:gd name="T25" fmla="*/ 0 h 419"/>
                <a:gd name="T26" fmla="*/ 543 w 627"/>
                <a:gd name="T27" fmla="*/ 53 h 419"/>
                <a:gd name="T28" fmla="*/ 543 w 627"/>
                <a:gd name="T29" fmla="*/ 283 h 419"/>
                <a:gd name="T30" fmla="*/ 491 w 627"/>
                <a:gd name="T31" fmla="*/ 335 h 419"/>
                <a:gd name="T32" fmla="*/ 136 w 627"/>
                <a:gd name="T33" fmla="*/ 335 h 419"/>
                <a:gd name="T34" fmla="*/ 83 w 627"/>
                <a:gd name="T35" fmla="*/ 283 h 419"/>
                <a:gd name="T36" fmla="*/ 125 w 627"/>
                <a:gd name="T37" fmla="*/ 283 h 419"/>
                <a:gd name="T38" fmla="*/ 136 w 627"/>
                <a:gd name="T39" fmla="*/ 293 h 419"/>
                <a:gd name="T40" fmla="*/ 491 w 627"/>
                <a:gd name="T41" fmla="*/ 293 h 419"/>
                <a:gd name="T42" fmla="*/ 502 w 627"/>
                <a:gd name="T43" fmla="*/ 283 h 419"/>
                <a:gd name="T44" fmla="*/ 502 w 627"/>
                <a:gd name="T45" fmla="*/ 53 h 419"/>
                <a:gd name="T46" fmla="*/ 491 w 627"/>
                <a:gd name="T47" fmla="*/ 42 h 419"/>
                <a:gd name="T48" fmla="*/ 136 w 627"/>
                <a:gd name="T49" fmla="*/ 42 h 419"/>
                <a:gd name="T50" fmla="*/ 125 w 627"/>
                <a:gd name="T51" fmla="*/ 53 h 419"/>
                <a:gd name="T52" fmla="*/ 125 w 627"/>
                <a:gd name="T53" fmla="*/ 283 h 419"/>
                <a:gd name="T54" fmla="*/ 345 w 627"/>
                <a:gd name="T55" fmla="*/ 382 h 419"/>
                <a:gd name="T56" fmla="*/ 339 w 627"/>
                <a:gd name="T57" fmla="*/ 377 h 419"/>
                <a:gd name="T58" fmla="*/ 287 w 627"/>
                <a:gd name="T59" fmla="*/ 377 h 419"/>
                <a:gd name="T60" fmla="*/ 282 w 627"/>
                <a:gd name="T61" fmla="*/ 382 h 419"/>
                <a:gd name="T62" fmla="*/ 287 w 627"/>
                <a:gd name="T63" fmla="*/ 387 h 419"/>
                <a:gd name="T64" fmla="*/ 339 w 627"/>
                <a:gd name="T65" fmla="*/ 387 h 419"/>
                <a:gd name="T66" fmla="*/ 345 w 627"/>
                <a:gd name="T67" fmla="*/ 38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7" h="419">
                  <a:moveTo>
                    <a:pt x="627" y="356"/>
                  </a:moveTo>
                  <a:cubicBezTo>
                    <a:pt x="627" y="387"/>
                    <a:pt x="627" y="387"/>
                    <a:pt x="627" y="387"/>
                  </a:cubicBezTo>
                  <a:cubicBezTo>
                    <a:pt x="627" y="405"/>
                    <a:pt x="603" y="419"/>
                    <a:pt x="575" y="419"/>
                  </a:cubicBezTo>
                  <a:cubicBezTo>
                    <a:pt x="52" y="419"/>
                    <a:pt x="52" y="419"/>
                    <a:pt x="52" y="419"/>
                  </a:cubicBezTo>
                  <a:cubicBezTo>
                    <a:pt x="23" y="419"/>
                    <a:pt x="0" y="405"/>
                    <a:pt x="0" y="387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52" y="356"/>
                    <a:pt x="52" y="356"/>
                    <a:pt x="52" y="356"/>
                  </a:cubicBezTo>
                  <a:cubicBezTo>
                    <a:pt x="575" y="356"/>
                    <a:pt x="575" y="356"/>
                    <a:pt x="575" y="356"/>
                  </a:cubicBezTo>
                  <a:lnTo>
                    <a:pt x="627" y="356"/>
                  </a:lnTo>
                  <a:close/>
                  <a:moveTo>
                    <a:pt x="83" y="28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24"/>
                    <a:pt x="107" y="0"/>
                    <a:pt x="136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0" y="0"/>
                    <a:pt x="543" y="24"/>
                    <a:pt x="543" y="53"/>
                  </a:cubicBezTo>
                  <a:cubicBezTo>
                    <a:pt x="543" y="283"/>
                    <a:pt x="543" y="283"/>
                    <a:pt x="543" y="283"/>
                  </a:cubicBezTo>
                  <a:cubicBezTo>
                    <a:pt x="543" y="311"/>
                    <a:pt x="520" y="335"/>
                    <a:pt x="491" y="335"/>
                  </a:cubicBezTo>
                  <a:cubicBezTo>
                    <a:pt x="136" y="335"/>
                    <a:pt x="136" y="335"/>
                    <a:pt x="136" y="335"/>
                  </a:cubicBezTo>
                  <a:cubicBezTo>
                    <a:pt x="107" y="335"/>
                    <a:pt x="83" y="311"/>
                    <a:pt x="83" y="283"/>
                  </a:cubicBezTo>
                  <a:close/>
                  <a:moveTo>
                    <a:pt x="125" y="283"/>
                  </a:moveTo>
                  <a:cubicBezTo>
                    <a:pt x="125" y="288"/>
                    <a:pt x="130" y="293"/>
                    <a:pt x="136" y="293"/>
                  </a:cubicBezTo>
                  <a:cubicBezTo>
                    <a:pt x="491" y="293"/>
                    <a:pt x="491" y="293"/>
                    <a:pt x="491" y="293"/>
                  </a:cubicBezTo>
                  <a:cubicBezTo>
                    <a:pt x="497" y="293"/>
                    <a:pt x="502" y="288"/>
                    <a:pt x="502" y="283"/>
                  </a:cubicBezTo>
                  <a:cubicBezTo>
                    <a:pt x="502" y="53"/>
                    <a:pt x="502" y="53"/>
                    <a:pt x="502" y="53"/>
                  </a:cubicBezTo>
                  <a:cubicBezTo>
                    <a:pt x="502" y="47"/>
                    <a:pt x="497" y="42"/>
                    <a:pt x="491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0" y="42"/>
                    <a:pt x="125" y="47"/>
                    <a:pt x="125" y="53"/>
                  </a:cubicBezTo>
                  <a:lnTo>
                    <a:pt x="125" y="283"/>
                  </a:lnTo>
                  <a:close/>
                  <a:moveTo>
                    <a:pt x="345" y="382"/>
                  </a:moveTo>
                  <a:cubicBezTo>
                    <a:pt x="345" y="379"/>
                    <a:pt x="342" y="377"/>
                    <a:pt x="339" y="377"/>
                  </a:cubicBezTo>
                  <a:cubicBezTo>
                    <a:pt x="287" y="377"/>
                    <a:pt x="287" y="377"/>
                    <a:pt x="287" y="377"/>
                  </a:cubicBezTo>
                  <a:cubicBezTo>
                    <a:pt x="284" y="377"/>
                    <a:pt x="282" y="379"/>
                    <a:pt x="282" y="382"/>
                  </a:cubicBezTo>
                  <a:cubicBezTo>
                    <a:pt x="282" y="385"/>
                    <a:pt x="284" y="387"/>
                    <a:pt x="287" y="387"/>
                  </a:cubicBezTo>
                  <a:cubicBezTo>
                    <a:pt x="339" y="387"/>
                    <a:pt x="339" y="387"/>
                    <a:pt x="339" y="387"/>
                  </a:cubicBezTo>
                  <a:cubicBezTo>
                    <a:pt x="342" y="387"/>
                    <a:pt x="345" y="385"/>
                    <a:pt x="345" y="38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4" name="Abgerundetes Rechteck 13"/>
          <p:cNvSpPr/>
          <p:nvPr/>
        </p:nvSpPr>
        <p:spPr>
          <a:xfrm>
            <a:off x="4129885" y="2876657"/>
            <a:ext cx="1548000" cy="918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Zielgrößen</a:t>
            </a:r>
            <a:endParaRPr lang="zh-CN" altLang="de-DE" dirty="0" err="1" smtClean="0"/>
          </a:p>
        </p:txBody>
      </p:sp>
      <p:sp>
        <p:nvSpPr>
          <p:cNvPr id="15" name="Pfeil nach unten 14"/>
          <p:cNvSpPr/>
          <p:nvPr/>
        </p:nvSpPr>
        <p:spPr>
          <a:xfrm>
            <a:off x="3049885" y="1580657"/>
            <a:ext cx="337457" cy="28302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6" name="Pfeil nach unten 15"/>
          <p:cNvSpPr/>
          <p:nvPr/>
        </p:nvSpPr>
        <p:spPr>
          <a:xfrm>
            <a:off x="2988000" y="4896000"/>
            <a:ext cx="337457" cy="283028"/>
          </a:xfrm>
          <a:prstGeom prst="down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Rechteckiger Pfeil 17"/>
          <p:cNvSpPr/>
          <p:nvPr/>
        </p:nvSpPr>
        <p:spPr>
          <a:xfrm rot="5400000">
            <a:off x="4705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19" name="Rechteckiger Pfeil 18"/>
          <p:cNvSpPr/>
          <p:nvPr/>
        </p:nvSpPr>
        <p:spPr>
          <a:xfrm rot="10800000">
            <a:off x="4705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0" name="Rechteckiger Pfeil 19"/>
          <p:cNvSpPr/>
          <p:nvPr/>
        </p:nvSpPr>
        <p:spPr>
          <a:xfrm rot="16200000">
            <a:off x="1069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1" name="Rechteckiger Pfeil 20"/>
          <p:cNvSpPr/>
          <p:nvPr/>
        </p:nvSpPr>
        <p:spPr>
          <a:xfrm>
            <a:off x="1069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3" name="Pfeil nach unten 22"/>
          <p:cNvSpPr/>
          <p:nvPr/>
        </p:nvSpPr>
        <p:spPr>
          <a:xfrm>
            <a:off x="6195857" y="1602429"/>
            <a:ext cx="337457" cy="338322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24" name="Pfeil nach unten 23"/>
          <p:cNvSpPr/>
          <p:nvPr/>
        </p:nvSpPr>
        <p:spPr>
          <a:xfrm rot="16200000">
            <a:off x="4630094" y="5356219"/>
            <a:ext cx="337457" cy="43898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7757957" y="5076000"/>
            <a:ext cx="3635443" cy="943800"/>
            <a:chOff x="7757957" y="5076000"/>
            <a:chExt cx="3635443" cy="943800"/>
          </a:xfrm>
        </p:grpSpPr>
        <p:sp>
          <p:nvSpPr>
            <p:cNvPr id="26" name="Abgerundetes Rechteck 25"/>
            <p:cNvSpPr/>
            <p:nvPr/>
          </p:nvSpPr>
          <p:spPr>
            <a:xfrm>
              <a:off x="8374543" y="5076000"/>
              <a:ext cx="3018857" cy="943800"/>
            </a:xfrm>
            <a:prstGeom prst="roundRect">
              <a:avLst/>
            </a:prstGeom>
            <a:solidFill>
              <a:srgbClr val="E7A603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AIC, BIC,</a:t>
              </a:r>
            </a:p>
            <a:p>
              <a:pPr algn="ctr"/>
              <a:r>
                <a:rPr lang="de-DE" altLang="zh-CN" dirty="0" smtClean="0"/>
                <a:t>Anzahl der Parameter,</a:t>
              </a:r>
            </a:p>
            <a:p>
              <a:pPr algn="ctr"/>
              <a:r>
                <a:rPr lang="de-DE" altLang="zh-CN" dirty="0" smtClean="0"/>
                <a:t>Prädiktionszeit </a:t>
              </a:r>
            </a:p>
          </p:txBody>
        </p:sp>
        <p:sp>
          <p:nvSpPr>
            <p:cNvPr id="27" name="Pfeil nach unten 26"/>
            <p:cNvSpPr/>
            <p:nvPr/>
          </p:nvSpPr>
          <p:spPr>
            <a:xfrm rot="16200000">
              <a:off x="7808722" y="5334446"/>
              <a:ext cx="337457" cy="438987"/>
            </a:xfrm>
            <a:prstGeom prst="downArrow">
              <a:avLst/>
            </a:prstGeom>
            <a:solidFill>
              <a:srgbClr val="E7A60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5" name="Abgerundetes Rechteck 24"/>
          <p:cNvSpPr/>
          <p:nvPr/>
        </p:nvSpPr>
        <p:spPr>
          <a:xfrm>
            <a:off x="7957458" y="892629"/>
            <a:ext cx="3995056" cy="3352800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	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 w AIC + 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-w) 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IC</a:t>
            </a: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= 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 </a:t>
            </a:r>
            <a:r>
              <a:rPr lang="de-DE" altLang="zh-CN" sz="1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xp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∙ (1-w) 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28" name="Objekt 27"/>
          <p:cNvGraphicFramePr>
            <a:graphicFrameLocks noChangeAspect="1"/>
          </p:cNvGraphicFramePr>
          <p:nvPr/>
        </p:nvGraphicFramePr>
        <p:xfrm>
          <a:off x="4978400" y="2908300"/>
          <a:ext cx="914400" cy="198438"/>
        </p:xfrm>
        <a:graphic>
          <a:graphicData uri="http://schemas.openxmlformats.org/presentationml/2006/ole">
            <p:oleObj spid="_x0000_s1026" name="Equation" r:id="rId4" imgW="114120" imgH="177480" progId="Equation.DSMT4">
              <p:embed/>
            </p:oleObj>
          </a:graphicData>
        </a:graphic>
      </p:graphicFrame>
      <p:cxnSp>
        <p:nvCxnSpPr>
          <p:cNvPr id="32" name="Gerade Verbindung mit Pfeil 31"/>
          <p:cNvCxnSpPr>
            <a:stCxn id="14" idx="3"/>
            <a:endCxn id="25" idx="1"/>
          </p:cNvCxnSpPr>
          <p:nvPr/>
        </p:nvCxnSpPr>
        <p:spPr>
          <a:xfrm flipV="1">
            <a:off x="5677885" y="2569029"/>
            <a:ext cx="2279573" cy="76662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bgerundetes Rechteck 33">
            <a:extLst>
              <a:ext uri="{FF2B5EF4-FFF2-40B4-BE49-F238E27FC236}">
                <a16:creationId xmlns="" xmlns:a16="http://schemas.microsoft.com/office/drawing/2014/main" id="{B914E147-3FA9-954A-82DD-6E31C1EE0650}"/>
              </a:ext>
            </a:extLst>
          </p:cNvPr>
          <p:cNvSpPr/>
          <p:nvPr/>
        </p:nvSpPr>
        <p:spPr>
          <a:xfrm>
            <a:off x="356461" y="856531"/>
            <a:ext cx="1211082" cy="720000"/>
          </a:xfrm>
          <a:prstGeom prst="roundRect">
            <a:avLst/>
          </a:prstGeom>
          <a:gradFill>
            <a:gsLst>
              <a:gs pos="0">
                <a:schemeClr val="accent4">
                  <a:lumMod val="89000"/>
                </a:schemeClr>
              </a:gs>
              <a:gs pos="23000">
                <a:schemeClr val="accent4">
                  <a:lumMod val="89000"/>
                </a:schemeClr>
              </a:gs>
              <a:gs pos="69000">
                <a:schemeClr val="accent4">
                  <a:lumMod val="75000"/>
                </a:schemeClr>
              </a:gs>
              <a:gs pos="97000">
                <a:schemeClr val="accent4">
                  <a:lumMod val="70000"/>
                </a:schemeClr>
              </a:gs>
            </a:gsLst>
            <a:path path="circle">
              <a:fillToRect r="100000" b="100000"/>
            </a:path>
          </a:gra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>
                <a:solidFill>
                  <a:schemeClr val="tx1"/>
                </a:solidFill>
                <a:latin typeface="+mj-lt"/>
              </a:rPr>
              <a:t>ADDMo</a:t>
            </a:r>
            <a:endParaRPr lang="de-DE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344884" y="5660573"/>
            <a:ext cx="34624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altLang="zh-CN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</a:rPr>
              <a:t>VM</a:t>
            </a:r>
            <a:endParaRPr lang="zh-CN" altLang="de-DE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</a:endParaRPr>
          </a:p>
        </p:txBody>
      </p:sp>
      <p:cxnSp>
        <p:nvCxnSpPr>
          <p:cNvPr id="36" name="Gerade Verbindung mit Pfeil 35"/>
          <p:cNvCxnSpPr>
            <a:stCxn id="8" idx="3"/>
            <a:endCxn id="25" idx="1"/>
          </p:cNvCxnSpPr>
          <p:nvPr/>
        </p:nvCxnSpPr>
        <p:spPr>
          <a:xfrm flipV="1">
            <a:off x="2185885" y="2569029"/>
            <a:ext cx="5771573" cy="76615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uiExpand="1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Folienmaster EBC | E.ON ERC - Inhalt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2016-05-20-EBC-Folienmaster-de.pptx" id="{83DC5908-4F1F-4064-9510-B14BABCD5042}" vid="{FAE60A6D-9762-4AB7-A218-C8488225A85B}"/>
    </a:ext>
  </a:extLst>
</a:theme>
</file>

<file path=ppt/theme/theme2.xml><?xml version="1.0" encoding="utf-8"?>
<a:theme xmlns:a="http://schemas.openxmlformats.org/drawingml/2006/main" name="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2016-05-20-EBC-Folienmaster-de.pptx" id="{83DC5908-4F1F-4064-9510-B14BABCD5042}" vid="{3CD2EE11-26E6-42C5-AB70-93302684BFC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de</Template>
  <TotalTime>0</TotalTime>
  <Words>1348</Words>
  <Application>Microsoft Office PowerPoint</Application>
  <PresentationFormat>Benutzerdefiniert</PresentationFormat>
  <Paragraphs>490</Paragraphs>
  <Slides>22</Slides>
  <Notes>16</Notes>
  <HiddenSlides>2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5" baseType="lpstr">
      <vt:lpstr>Folienmaster EBC | E.ON ERC - Inhaltsfolien</vt:lpstr>
      <vt:lpstr>Folienmaster EBC | E.ON ERC - Titel-/Abschlussfolien</vt:lpstr>
      <vt:lpstr>Equation</vt:lpstr>
      <vt:lpstr>Vergleich von Machine Learning Verfahren für Zeitreihenanalyse in Gebäudeenergiesystemen  auf Basis von Bewertungsmetriken</vt:lpstr>
      <vt:lpstr>Motivation</vt:lpstr>
      <vt:lpstr>Motivation</vt:lpstr>
      <vt:lpstr>Motivation</vt:lpstr>
      <vt:lpstr>Use Case – FUBIC </vt:lpstr>
      <vt:lpstr>Bewertungsmetriken und Gütemaße</vt:lpstr>
      <vt:lpstr>Informationskriterien- AIC &amp; BIC</vt:lpstr>
      <vt:lpstr>Anwendung der Informationskriterien auf Machine-Learning-Verfahren </vt:lpstr>
      <vt:lpstr>Trainingsablauf</vt:lpstr>
      <vt:lpstr>Ergebnisse: Vergleich der beiden ANN Varianten</vt:lpstr>
      <vt:lpstr>Ergebnisse - ANN</vt:lpstr>
      <vt:lpstr>Vergleich der ML-Algorithmen für den FUBIC-Datensatz</vt:lpstr>
      <vt:lpstr>Übertragbarkeit prüfen am Beispiel des E.ON ERC Datensatzes</vt:lpstr>
      <vt:lpstr>Zusammenfassung     Ausblick</vt:lpstr>
      <vt:lpstr>Folie 15</vt:lpstr>
      <vt:lpstr>Zusammenfassung      Ausblick</vt:lpstr>
      <vt:lpstr>Tool – Automated Data-driven Modeling of (Addmo)</vt:lpstr>
      <vt:lpstr>Stand der Technik</vt:lpstr>
      <vt:lpstr>Informationskriterien- AIC &amp; BIC</vt:lpstr>
      <vt:lpstr>Stand der Technik - Komplexität</vt:lpstr>
      <vt:lpstr>Ergebnisse RF</vt:lpstr>
      <vt:lpstr>Ergebnisse SVR</vt:lpstr>
    </vt:vector>
  </TitlesOfParts>
  <Company>E.ON Energy Research Cent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triebsoptimierung netzgekoppelter   PV-Batteriespeichersysteme  für Nicht-Wohngebäude  mittels modellprädiktiver Regelung</dc:title>
  <dc:creator>Kuehn, Larissa</dc:creator>
  <cp:lastModifiedBy>pm</cp:lastModifiedBy>
  <cp:revision>529</cp:revision>
  <cp:lastPrinted>2015-12-03T17:36:18Z</cp:lastPrinted>
  <dcterms:created xsi:type="dcterms:W3CDTF">2020-07-05T07:26:15Z</dcterms:created>
  <dcterms:modified xsi:type="dcterms:W3CDTF">2022-03-17T14:51:00Z</dcterms:modified>
</cp:coreProperties>
</file>